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7FFD55A4_EF58DC86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42"/>
  </p:notesMasterIdLst>
  <p:sldIdLst>
    <p:sldId id="13686" r:id="rId9"/>
    <p:sldId id="2147308966" r:id="rId10"/>
    <p:sldId id="2145705885" r:id="rId11"/>
    <p:sldId id="2147308972" r:id="rId12"/>
    <p:sldId id="2145705905" r:id="rId13"/>
    <p:sldId id="2147308971" r:id="rId14"/>
    <p:sldId id="2147308981" r:id="rId15"/>
    <p:sldId id="2145705887" r:id="rId16"/>
    <p:sldId id="2147308969" r:id="rId17"/>
    <p:sldId id="829" r:id="rId18"/>
    <p:sldId id="2147308973" r:id="rId19"/>
    <p:sldId id="2147308974" r:id="rId20"/>
    <p:sldId id="2147308975" r:id="rId21"/>
    <p:sldId id="2147308976" r:id="rId22"/>
    <p:sldId id="2147308977" r:id="rId23"/>
    <p:sldId id="2147308978" r:id="rId24"/>
    <p:sldId id="2147308979" r:id="rId25"/>
    <p:sldId id="2147308980" r:id="rId26"/>
    <p:sldId id="2147308965" r:id="rId27"/>
    <p:sldId id="3346" r:id="rId28"/>
    <p:sldId id="2147308970" r:id="rId29"/>
    <p:sldId id="2145705888" r:id="rId30"/>
    <p:sldId id="2147308982" r:id="rId31"/>
    <p:sldId id="2147308964" r:id="rId32"/>
    <p:sldId id="2145705878" r:id="rId33"/>
    <p:sldId id="2145705879" r:id="rId34"/>
    <p:sldId id="2145705872" r:id="rId35"/>
    <p:sldId id="2145705876" r:id="rId36"/>
    <p:sldId id="2145705886" r:id="rId37"/>
    <p:sldId id="2145705880" r:id="rId38"/>
    <p:sldId id="2145705877" r:id="rId39"/>
    <p:sldId id="2147308967" r:id="rId40"/>
    <p:sldId id="2147308968" r:id="rId4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3D55B41-E3D8-0BBB-2D08-FDBB0BA30FE5}" name="Zhen Gao" initials="ZG" userId="S::zhen.gao@biogen.com::753ca5ad-a66a-4072-86ff-fe9bc8c0233d" providerId="AD"/>
  <p188:author id="{B16D4CB7-95BA-9D22-2FFC-CED822BF181C}" name="Catherine Guardado" initials="CG" userId="S::catherine.guardado@biogen.com::65923c0c-432e-4ae4-9bdf-aa1bccb570b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3D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47"/>
    <p:restoredTop sz="96475"/>
  </p:normalViewPr>
  <p:slideViewPr>
    <p:cSldViewPr snapToGrid="0">
      <p:cViewPr varScale="1">
        <p:scale>
          <a:sx n="127" d="100"/>
          <a:sy n="127" d="100"/>
        </p:scale>
        <p:origin x="192" y="5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Relationship Id="rId48" Type="http://schemas.microsoft.com/office/2018/10/relationships/authors" Target="author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0" Type="http://schemas.openxmlformats.org/officeDocument/2006/relationships/slide" Target="slides/slide12.xml"/><Relationship Id="rId41" Type="http://schemas.openxmlformats.org/officeDocument/2006/relationships/slide" Target="slides/slide33.xml"/></Relationships>
</file>

<file path=ppt/comments/modernComment_7FFD55A4_EF58DC8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FCCB9FF-2C7B-EE49-94C6-0C4E7EE2BA47}" authorId="{B16D4CB7-95BA-9D22-2FFC-CED822BF181C}" created="2022-04-12T16:50:14.339">
    <pc:sldMkLst xmlns:pc="http://schemas.microsoft.com/office/powerpoint/2013/main/command">
      <pc:docMk/>
      <pc:sldMk cId="4015578246" sldId="2147308964"/>
    </pc:sldMkLst>
    <p188:replyLst>
      <p188:reply id="{542A9F86-9975-4F20-BA59-08AA59E7BF0B}" authorId="{A3D55B41-E3D8-0BBB-2D08-FDBB0BA30FE5}" created="2022-04-15T06:53:03.543">
        <p188:txBody>
          <a:bodyPr/>
          <a:lstStyle/>
          <a:p>
            <a:r>
              <a:rPr lang="en-US"/>
              <a:t>[@Catherine Guardado] I have also send the raw files to your Email. </a:t>
            </a:r>
          </a:p>
        </p188:txBody>
      </p188:reply>
      <p188:reply id="{E5A128BF-A436-49F3-86FC-6EC4E9174C54}" authorId="{B16D4CB7-95BA-9D22-2FFC-CED822BF181C}" created="2022-04-16T15:26:51.127">
        <p188:txBody>
          <a:bodyPr/>
          <a:lstStyle/>
          <a:p>
            <a:r>
              <a:rPr lang="en-US"/>
              <a:t>Thanks Zhen. We will definitely need some different graphics for the presentation, maybe this can go in backup. For the main presenation, perhaps a venndiagram for the comp-1 and comp-4 comparisons with # genes and % overlap listed in the different compartments of the diagrams.</a:t>
            </a:r>
          </a:p>
        </p188:txBody>
      </p188:reply>
    </p188:replyLst>
    <p188:txBody>
      <a:bodyPr/>
      <a:lstStyle/>
      <a:p>
        <a:r>
          <a:rPr lang="en-US"/>
          <a:t>[@Zhen Gao] [@Dann Huh]: Please feel free to structure this slide (and title) as you see fit.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8/2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1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3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40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7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7" Type="http://schemas.openxmlformats.org/officeDocument/2006/relationships/image" Target="../media/image3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7" Type="http://schemas.openxmlformats.org/officeDocument/2006/relationships/image" Target="../media/image40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3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7" Type="http://schemas.openxmlformats.org/officeDocument/2006/relationships/image" Target="../media/image40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.pn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0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3.png"/><Relationship Id="rId7" Type="http://schemas.microsoft.com/office/2007/relationships/hdphoto" Target="../media/hdphoto1.wdp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6.png"/><Relationship Id="rId4" Type="http://schemas.microsoft.com/office/2007/relationships/hdphoto" Target="../media/hdphoto17.wdp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7" Type="http://schemas.openxmlformats.org/officeDocument/2006/relationships/image" Target="../media/image40.png"/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7" Type="http://schemas.openxmlformats.org/officeDocument/2006/relationships/image" Target="../media/image3.pn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3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4260B-9F57-4BD3-A18C-DE12DD8F2E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1B60E3-EE3D-49E2-AEB7-94027F01E7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AD8690-23F0-4D41-858D-108721FB0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37C08-BA8D-4358-8F06-29AEB1D33570}" type="datetimeFigureOut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B7BD80-5B23-4944-95FC-08D33E209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EB1144-D5C8-45AE-8A22-67AA80784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2710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88119510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microsoft.com/office/2007/relationships/hdphoto" Target="../media/hdphoto1.wdp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38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0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3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4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50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8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56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2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64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6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733" r:id="rId22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95.png"/><Relationship Id="rId5" Type="http://schemas.openxmlformats.org/officeDocument/2006/relationships/image" Target="../media/image94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94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microsoft.com/office/2018/10/relationships/comments" Target="../comments/modernComment_7FFD55A4_EF58DC8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image" Target="../media/image76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image" Target="../media/image76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4DFC884-2215-4ED4-8121-D126DBC8BF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8172" y="1317604"/>
            <a:ext cx="11140096" cy="1655762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l"/>
            <a:r>
              <a:rPr lang="en-US" sz="3000" b="1" dirty="0">
                <a:solidFill>
                  <a:schemeClr val="tx2"/>
                </a:solidFill>
                <a:latin typeface="Arial"/>
                <a:cs typeface="Arial"/>
              </a:rPr>
              <a:t>Pitfalls and difficulties in HTT SM modulators research</a:t>
            </a:r>
          </a:p>
          <a:p>
            <a:pPr algn="l"/>
            <a:r>
              <a:rPr lang="en-US" sz="3000" b="1" dirty="0">
                <a:solidFill>
                  <a:schemeClr val="tx2"/>
                </a:solidFill>
                <a:latin typeface="Arial"/>
                <a:cs typeface="Arial"/>
              </a:rPr>
              <a:t>----1st part </a:t>
            </a:r>
          </a:p>
          <a:p>
            <a:pPr algn="l"/>
            <a:endParaRPr lang="en-US" sz="3000" b="1" dirty="0">
              <a:solidFill>
                <a:schemeClr val="tx2"/>
              </a:solidFill>
              <a:latin typeface="Arial"/>
              <a:cs typeface="Arial"/>
            </a:endParaRPr>
          </a:p>
          <a:p>
            <a:pPr algn="l">
              <a:spcBef>
                <a:spcPts val="200"/>
              </a:spcBef>
            </a:pPr>
            <a:r>
              <a:rPr lang="en-US" sz="2200" dirty="0">
                <a:latin typeface="Arial"/>
                <a:cs typeface="Arial"/>
              </a:rPr>
              <a:t>April 28, 2023</a:t>
            </a:r>
          </a:p>
          <a:p>
            <a:pPr algn="l"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 algn="l"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 algn="l"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 algn="l">
              <a:spcBef>
                <a:spcPts val="200"/>
              </a:spcBef>
            </a:pPr>
            <a:r>
              <a:rPr lang="en-US" sz="2200" dirty="0">
                <a:latin typeface="Arial" panose="020B0604020202020204" pitchFamily="34" charset="0"/>
              </a:rPr>
              <a:t>Introduction </a:t>
            </a:r>
          </a:p>
          <a:p>
            <a:pPr algn="l"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 algn="l"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Joon, Magnus, Jessica, Christina</a:t>
            </a:r>
          </a:p>
        </p:txBody>
      </p:sp>
    </p:spTree>
    <p:extLst>
      <p:ext uri="{BB962C8B-B14F-4D97-AF65-F5344CB8AC3E}">
        <p14:creationId xmlns:p14="http://schemas.microsoft.com/office/powerpoint/2010/main" val="86071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ADF4F62-528D-4B95-9297-AF10F5453F9B}"/>
              </a:ext>
            </a:extLst>
          </p:cNvPr>
          <p:cNvSpPr txBox="1"/>
          <p:nvPr/>
        </p:nvSpPr>
        <p:spPr>
          <a:xfrm>
            <a:off x="47193" y="13109"/>
            <a:ext cx="120976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tx1">
                    <a:lumMod val="50000"/>
                  </a:schemeClr>
                </a:solidFill>
              </a:rPr>
              <a:t>The difference in SMN2 </a:t>
            </a:r>
            <a:r>
              <a:rPr lang="en-US" sz="3600" b="1" dirty="0" err="1">
                <a:solidFill>
                  <a:schemeClr val="tx1">
                    <a:lumMod val="50000"/>
                  </a:schemeClr>
                </a:solidFill>
              </a:rPr>
              <a:t>dPSI</a:t>
            </a:r>
            <a:r>
              <a:rPr lang="en-US" sz="3600" b="1" dirty="0">
                <a:solidFill>
                  <a:schemeClr val="tx1">
                    <a:lumMod val="50000"/>
                  </a:schemeClr>
                </a:solidFill>
              </a:rPr>
              <a:t> between algorithms comes from varying definitions of “PSI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9F1560-3FD0-463A-BCEC-C7CBC8378FBB}"/>
              </a:ext>
            </a:extLst>
          </p:cNvPr>
          <p:cNvSpPr txBox="1"/>
          <p:nvPr/>
        </p:nvSpPr>
        <p:spPr>
          <a:xfrm>
            <a:off x="363257" y="1206906"/>
            <a:ext cx="107607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rMATS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 : does not even use the word PSI, just called “Inclusion Level Difference”</a:t>
            </a:r>
          </a:p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Leafcutter: “Percent Spliced In”</a:t>
            </a:r>
          </a:p>
          <a:p>
            <a:r>
              <a:rPr lang="en-US" dirty="0" err="1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Majiq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: “Percent Selected Index” (one junction at a time)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13A929-38DE-4E03-BAE6-44C607829C56}"/>
              </a:ext>
            </a:extLst>
          </p:cNvPr>
          <p:cNvSpPr txBox="1"/>
          <p:nvPr/>
        </p:nvSpPr>
        <p:spPr>
          <a:xfrm>
            <a:off x="2514600" y="2754868"/>
            <a:ext cx="12566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Example: </a:t>
            </a:r>
            <a:endParaRPr lang="en-US" sz="2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BAE789-EF1F-452F-8ACD-77FB65ECD371}"/>
              </a:ext>
            </a:extLst>
          </p:cNvPr>
          <p:cNvSpPr/>
          <p:nvPr/>
        </p:nvSpPr>
        <p:spPr>
          <a:xfrm>
            <a:off x="4328197" y="2909275"/>
            <a:ext cx="533400" cy="1640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26A4BC-0E44-4E3D-998D-82FA8A014EE9}"/>
              </a:ext>
            </a:extLst>
          </p:cNvPr>
          <p:cNvSpPr/>
          <p:nvPr/>
        </p:nvSpPr>
        <p:spPr>
          <a:xfrm>
            <a:off x="5945524" y="2909408"/>
            <a:ext cx="533400" cy="1640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C39D222-FF51-4A3C-A28A-A0F08F3D2489}"/>
              </a:ext>
            </a:extLst>
          </p:cNvPr>
          <p:cNvCxnSpPr/>
          <p:nvPr/>
        </p:nvCxnSpPr>
        <p:spPr>
          <a:xfrm flipV="1">
            <a:off x="4607480" y="2794251"/>
            <a:ext cx="697335" cy="591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A438D6-8F98-440C-A95E-BBFBD253750F}"/>
              </a:ext>
            </a:extLst>
          </p:cNvPr>
          <p:cNvCxnSpPr/>
          <p:nvPr/>
        </p:nvCxnSpPr>
        <p:spPr>
          <a:xfrm>
            <a:off x="4594897" y="3196490"/>
            <a:ext cx="1617327" cy="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D4F7A64-892C-463F-B053-59F562146D93}"/>
              </a:ext>
            </a:extLst>
          </p:cNvPr>
          <p:cNvCxnSpPr>
            <a:stCxn id="5" idx="3"/>
          </p:cNvCxnSpPr>
          <p:nvPr/>
        </p:nvCxnSpPr>
        <p:spPr>
          <a:xfrm>
            <a:off x="4861597" y="2991309"/>
            <a:ext cx="1219200" cy="0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29FBF51C-D898-469E-BC09-3979455B3728}"/>
              </a:ext>
            </a:extLst>
          </p:cNvPr>
          <p:cNvSpPr/>
          <p:nvPr/>
        </p:nvSpPr>
        <p:spPr>
          <a:xfrm>
            <a:off x="5095790" y="2909275"/>
            <a:ext cx="533400" cy="1640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F303C0-14D9-427B-980C-A3E980B17F8A}"/>
              </a:ext>
            </a:extLst>
          </p:cNvPr>
          <p:cNvSpPr txBox="1"/>
          <p:nvPr/>
        </p:nvSpPr>
        <p:spPr>
          <a:xfrm>
            <a:off x="5473469" y="2472781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</a:t>
            </a:r>
            <a:r>
              <a:rPr lang="en-US" sz="1600" baseline="-250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3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=29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F70762-9A4F-4691-A77E-3A16DF299418}"/>
              </a:ext>
            </a:extLst>
          </p:cNvPr>
          <p:cNvSpPr txBox="1"/>
          <p:nvPr/>
        </p:nvSpPr>
        <p:spPr>
          <a:xfrm>
            <a:off x="4622336" y="2476168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</a:t>
            </a:r>
            <a:r>
              <a:rPr lang="en-US" sz="1600" baseline="-250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1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=16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4FCFD4-8F8D-4F0D-B3A8-CBBBD674606A}"/>
              </a:ext>
            </a:extLst>
          </p:cNvPr>
          <p:cNvSpPr txBox="1"/>
          <p:nvPr/>
        </p:nvSpPr>
        <p:spPr>
          <a:xfrm>
            <a:off x="5025881" y="3133937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</a:t>
            </a:r>
            <a:r>
              <a:rPr lang="en-US" sz="1600" baseline="-250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2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=20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CB4CF9-70E8-4543-BD44-3F6AD8FFDCD3}"/>
              </a:ext>
            </a:extLst>
          </p:cNvPr>
          <p:cNvSpPr txBox="1"/>
          <p:nvPr/>
        </p:nvSpPr>
        <p:spPr>
          <a:xfrm>
            <a:off x="4852858" y="2136879"/>
            <a:ext cx="1081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&lt;DMSO&gt;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D749CAE-DB69-4B79-A988-9936F9132F40}"/>
              </a:ext>
            </a:extLst>
          </p:cNvPr>
          <p:cNvCxnSpPr/>
          <p:nvPr/>
        </p:nvCxnSpPr>
        <p:spPr>
          <a:xfrm>
            <a:off x="5457564" y="2794734"/>
            <a:ext cx="753961" cy="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6052404-300A-439C-AC2D-7179984D019D}"/>
              </a:ext>
            </a:extLst>
          </p:cNvPr>
          <p:cNvSpPr/>
          <p:nvPr/>
        </p:nvSpPr>
        <p:spPr>
          <a:xfrm>
            <a:off x="6715913" y="2899538"/>
            <a:ext cx="533400" cy="1640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1412C29-EBC8-4354-8D06-B037A5CBA5B2}"/>
              </a:ext>
            </a:extLst>
          </p:cNvPr>
          <p:cNvSpPr/>
          <p:nvPr/>
        </p:nvSpPr>
        <p:spPr>
          <a:xfrm>
            <a:off x="8333240" y="2899671"/>
            <a:ext cx="533400" cy="1640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53E9CDB-3246-4352-9FE0-728DC98C25F6}"/>
              </a:ext>
            </a:extLst>
          </p:cNvPr>
          <p:cNvCxnSpPr/>
          <p:nvPr/>
        </p:nvCxnSpPr>
        <p:spPr>
          <a:xfrm flipV="1">
            <a:off x="6995196" y="2784514"/>
            <a:ext cx="697335" cy="591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9753737-8EB8-43E9-B56A-10681F8B3298}"/>
              </a:ext>
            </a:extLst>
          </p:cNvPr>
          <p:cNvCxnSpPr/>
          <p:nvPr/>
        </p:nvCxnSpPr>
        <p:spPr>
          <a:xfrm>
            <a:off x="6982613" y="3186753"/>
            <a:ext cx="1617327" cy="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1A67D39-C5AF-4F63-B5A0-015CA09BAEE6}"/>
              </a:ext>
            </a:extLst>
          </p:cNvPr>
          <p:cNvCxnSpPr>
            <a:stCxn id="16" idx="3"/>
          </p:cNvCxnSpPr>
          <p:nvPr/>
        </p:nvCxnSpPr>
        <p:spPr>
          <a:xfrm>
            <a:off x="7249313" y="2981572"/>
            <a:ext cx="1219200" cy="0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C2E72A1-1D97-4D31-B288-D1A1ED78B7FA}"/>
              </a:ext>
            </a:extLst>
          </p:cNvPr>
          <p:cNvSpPr/>
          <p:nvPr/>
        </p:nvSpPr>
        <p:spPr>
          <a:xfrm>
            <a:off x="7483506" y="2899538"/>
            <a:ext cx="533400" cy="1640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97E621-AEA3-4E11-96C9-BC385B827DF7}"/>
              </a:ext>
            </a:extLst>
          </p:cNvPr>
          <p:cNvSpPr txBox="1"/>
          <p:nvPr/>
        </p:nvSpPr>
        <p:spPr>
          <a:xfrm>
            <a:off x="7819764" y="2440349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</a:t>
            </a:r>
            <a:r>
              <a:rPr lang="en-US" sz="1600" baseline="-250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3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=79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C71E3C-AE5D-415E-B841-43CC2921C446}"/>
              </a:ext>
            </a:extLst>
          </p:cNvPr>
          <p:cNvSpPr txBox="1"/>
          <p:nvPr/>
        </p:nvSpPr>
        <p:spPr>
          <a:xfrm>
            <a:off x="6968631" y="2443736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</a:t>
            </a:r>
            <a:r>
              <a:rPr lang="en-US" sz="1600" baseline="-250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1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=54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7F992EB-3ABB-4C1A-8C7E-D8254526FE34}"/>
              </a:ext>
            </a:extLst>
          </p:cNvPr>
          <p:cNvSpPr txBox="1"/>
          <p:nvPr/>
        </p:nvSpPr>
        <p:spPr>
          <a:xfrm>
            <a:off x="7472320" y="3124200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C</a:t>
            </a:r>
            <a:r>
              <a:rPr lang="en-US" sz="1600" baseline="-250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2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=0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CD0F5B3-85AB-415D-B9A2-883240DA6DC3}"/>
              </a:ext>
            </a:extLst>
          </p:cNvPr>
          <p:cNvCxnSpPr/>
          <p:nvPr/>
        </p:nvCxnSpPr>
        <p:spPr>
          <a:xfrm>
            <a:off x="7845280" y="2784997"/>
            <a:ext cx="753961" cy="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76B182D-D77C-463F-BBA0-966CA3BA0517}"/>
              </a:ext>
            </a:extLst>
          </p:cNvPr>
          <p:cNvSpPr txBox="1"/>
          <p:nvPr/>
        </p:nvSpPr>
        <p:spPr>
          <a:xfrm>
            <a:off x="7164724" y="2128490"/>
            <a:ext cx="13064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&lt;RG7916&gt;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DE521A2-8CE3-4629-93F5-451046224255}"/>
              </a:ext>
            </a:extLst>
          </p:cNvPr>
          <p:cNvGrpSpPr/>
          <p:nvPr/>
        </p:nvGrpSpPr>
        <p:grpSpPr>
          <a:xfrm>
            <a:off x="2225612" y="3505200"/>
            <a:ext cx="1447800" cy="923330"/>
            <a:chOff x="457200" y="3581400"/>
            <a:chExt cx="1447800" cy="923330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921FE85-A784-4CED-824F-10EF68428598}"/>
                </a:ext>
              </a:extLst>
            </p:cNvPr>
            <p:cNvSpPr txBox="1"/>
            <p:nvPr/>
          </p:nvSpPr>
          <p:spPr>
            <a:xfrm>
              <a:off x="457200" y="3581400"/>
              <a:ext cx="144780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err="1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rMATS</a:t>
              </a:r>
              <a:endPara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endParaRPr>
            </a:p>
            <a:p>
              <a:pPr algn="ctr"/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1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+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3</a:t>
              </a:r>
            </a:p>
            <a:p>
              <a:pPr algn="ctr"/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1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+</a:t>
              </a:r>
              <a:r>
                <a:rPr lang="en-US" b="1" i="1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2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*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2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+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3</a:t>
              </a:r>
              <a:endParaRPr lang="en-US" baseline="-250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5AF2C3F-5722-42DC-B2FA-99A0699237B9}"/>
                </a:ext>
              </a:extLst>
            </p:cNvPr>
            <p:cNvCxnSpPr/>
            <p:nvPr/>
          </p:nvCxnSpPr>
          <p:spPr>
            <a:xfrm>
              <a:off x="609600" y="4139967"/>
              <a:ext cx="119368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44769BF-2800-4382-B278-87FAA3BDF3F5}"/>
              </a:ext>
            </a:extLst>
          </p:cNvPr>
          <p:cNvGrpSpPr/>
          <p:nvPr/>
        </p:nvGrpSpPr>
        <p:grpSpPr>
          <a:xfrm>
            <a:off x="2241691" y="4571193"/>
            <a:ext cx="1447800" cy="923330"/>
            <a:chOff x="473279" y="4647393"/>
            <a:chExt cx="1447800" cy="92333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60F4880-4F02-4DF8-9706-789F10E72270}"/>
                </a:ext>
              </a:extLst>
            </p:cNvPr>
            <p:cNvSpPr txBox="1"/>
            <p:nvPr/>
          </p:nvSpPr>
          <p:spPr>
            <a:xfrm>
              <a:off x="473279" y="4647393"/>
              <a:ext cx="144780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Leafcutter</a:t>
              </a:r>
            </a:p>
            <a:p>
              <a:pPr algn="ctr"/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1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+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3</a:t>
              </a:r>
            </a:p>
            <a:p>
              <a:pPr algn="ctr"/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 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1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+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2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+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3</a:t>
              </a:r>
              <a:endParaRPr lang="en-US" baseline="-250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178EFF2-A98D-48AA-A7FB-BE2509637542}"/>
                </a:ext>
              </a:extLst>
            </p:cNvPr>
            <p:cNvCxnSpPr/>
            <p:nvPr/>
          </p:nvCxnSpPr>
          <p:spPr>
            <a:xfrm>
              <a:off x="747440" y="5223545"/>
              <a:ext cx="98651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7AD47C2-48BE-407B-839E-C0D900118039}"/>
              </a:ext>
            </a:extLst>
          </p:cNvPr>
          <p:cNvGrpSpPr/>
          <p:nvPr/>
        </p:nvGrpSpPr>
        <p:grpSpPr>
          <a:xfrm>
            <a:off x="1828800" y="5629870"/>
            <a:ext cx="2440324" cy="1200329"/>
            <a:chOff x="46498" y="5706070"/>
            <a:chExt cx="2440324" cy="120032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E4B1893-7AF3-40C7-9C5E-D32E009D3690}"/>
                </a:ext>
              </a:extLst>
            </p:cNvPr>
            <p:cNvSpPr txBox="1"/>
            <p:nvPr/>
          </p:nvSpPr>
          <p:spPr>
            <a:xfrm>
              <a:off x="46498" y="5706070"/>
              <a:ext cx="244032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               </a:t>
              </a:r>
              <a:r>
                <a:rPr lang="en-US" dirty="0" err="1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Majiq</a:t>
              </a:r>
              <a:endPara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endParaRPr>
            </a:p>
            <a:p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      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1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                  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3</a:t>
              </a:r>
            </a:p>
            <a:p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   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1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+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2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             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2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+C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3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   </a:t>
              </a:r>
              <a:endParaRPr lang="en-US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3681C38-DC8A-4DF1-9EAB-B34FD482E10B}"/>
                </a:ext>
              </a:extLst>
            </p:cNvPr>
            <p:cNvCxnSpPr/>
            <p:nvPr/>
          </p:nvCxnSpPr>
          <p:spPr>
            <a:xfrm>
              <a:off x="348738" y="6307822"/>
              <a:ext cx="58281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F0CE8EE-57CD-497D-94FA-E80922A0C400}"/>
                </a:ext>
              </a:extLst>
            </p:cNvPr>
            <p:cNvCxnSpPr/>
            <p:nvPr/>
          </p:nvCxnSpPr>
          <p:spPr>
            <a:xfrm>
              <a:off x="1545513" y="6298734"/>
              <a:ext cx="641101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9FFB3D2-B0F3-4E3C-A743-02335501B719}"/>
                </a:ext>
              </a:extLst>
            </p:cNvPr>
            <p:cNvSpPr txBox="1"/>
            <p:nvPr/>
          </p:nvSpPr>
          <p:spPr>
            <a:xfrm>
              <a:off x="1028424" y="6099279"/>
              <a:ext cx="41937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sym typeface="Wingdings" panose="05000000000000000000" pitchFamily="2" charset="2"/>
                </a:rPr>
                <a:t>or</a:t>
              </a:r>
              <a:endParaRPr lang="en-US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728508D8-0651-4D73-B1B3-9742A6437418}"/>
              </a:ext>
            </a:extLst>
          </p:cNvPr>
          <p:cNvSpPr txBox="1"/>
          <p:nvPr/>
        </p:nvSpPr>
        <p:spPr>
          <a:xfrm>
            <a:off x="4973358" y="3901589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0.53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8263D84-F7E7-4249-BE2F-17432E7DD61A}"/>
              </a:ext>
            </a:extLst>
          </p:cNvPr>
          <p:cNvSpPr txBox="1"/>
          <p:nvPr/>
        </p:nvSpPr>
        <p:spPr>
          <a:xfrm>
            <a:off x="7223271" y="3901589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1.0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8CBD088-EF5D-44AD-AA55-92D988BA53B6}"/>
              </a:ext>
            </a:extLst>
          </p:cNvPr>
          <p:cNvSpPr txBox="1"/>
          <p:nvPr/>
        </p:nvSpPr>
        <p:spPr>
          <a:xfrm>
            <a:off x="4973358" y="4923679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0.69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AD0A55C-1F68-4E35-8941-932E4861063B}"/>
              </a:ext>
            </a:extLst>
          </p:cNvPr>
          <p:cNvSpPr txBox="1"/>
          <p:nvPr/>
        </p:nvSpPr>
        <p:spPr>
          <a:xfrm>
            <a:off x="7223271" y="4923679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1.0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BAEC584-D799-41CB-9E2F-96978AEB55C6}"/>
              </a:ext>
            </a:extLst>
          </p:cNvPr>
          <p:cNvSpPr txBox="1"/>
          <p:nvPr/>
        </p:nvSpPr>
        <p:spPr>
          <a:xfrm>
            <a:off x="4668558" y="5967378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0.44 or 0.59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EB643F2-6107-469B-9F14-A8CA69E48112}"/>
              </a:ext>
            </a:extLst>
          </p:cNvPr>
          <p:cNvSpPr txBox="1"/>
          <p:nvPr/>
        </p:nvSpPr>
        <p:spPr>
          <a:xfrm>
            <a:off x="6918471" y="5967378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1 or 1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1B25699-480F-4493-8137-ADCD1103459E}"/>
              </a:ext>
            </a:extLst>
          </p:cNvPr>
          <p:cNvSpPr txBox="1"/>
          <p:nvPr/>
        </p:nvSpPr>
        <p:spPr>
          <a:xfrm>
            <a:off x="9238419" y="2714298"/>
            <a:ext cx="1081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Delta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CFB4A6E-F441-4922-89A4-2B3F51A23B30}"/>
              </a:ext>
            </a:extLst>
          </p:cNvPr>
          <p:cNvSpPr txBox="1"/>
          <p:nvPr/>
        </p:nvSpPr>
        <p:spPr>
          <a:xfrm>
            <a:off x="9238419" y="3886200"/>
            <a:ext cx="1081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0.47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3811CBB-C13D-41ED-8F65-75BEE70EA09F}"/>
              </a:ext>
            </a:extLst>
          </p:cNvPr>
          <p:cNvSpPr txBox="1"/>
          <p:nvPr/>
        </p:nvSpPr>
        <p:spPr>
          <a:xfrm>
            <a:off x="9238419" y="4908290"/>
            <a:ext cx="1081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0.31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052ED80-3A3B-43CF-99B8-FD1E4643E316}"/>
              </a:ext>
            </a:extLst>
          </p:cNvPr>
          <p:cNvSpPr txBox="1"/>
          <p:nvPr/>
        </p:nvSpPr>
        <p:spPr>
          <a:xfrm>
            <a:off x="8993524" y="5951989"/>
            <a:ext cx="1571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0.56 or 0.41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A04E13A-5171-49F9-92F9-808C96EF5D24}"/>
              </a:ext>
            </a:extLst>
          </p:cNvPr>
          <p:cNvCxnSpPr/>
          <p:nvPr/>
        </p:nvCxnSpPr>
        <p:spPr>
          <a:xfrm>
            <a:off x="2055539" y="3538756"/>
            <a:ext cx="83102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130704D-72F0-40A2-A7E9-DE4A788CB4DA}"/>
              </a:ext>
            </a:extLst>
          </p:cNvPr>
          <p:cNvCxnSpPr/>
          <p:nvPr/>
        </p:nvCxnSpPr>
        <p:spPr>
          <a:xfrm>
            <a:off x="2059324" y="4504189"/>
            <a:ext cx="83102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2E959AC-9D3A-4D7C-8379-C61497E43184}"/>
              </a:ext>
            </a:extLst>
          </p:cNvPr>
          <p:cNvCxnSpPr/>
          <p:nvPr/>
        </p:nvCxnSpPr>
        <p:spPr>
          <a:xfrm>
            <a:off x="2067713" y="5553512"/>
            <a:ext cx="83102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16F4B4B-E904-4761-84F1-F6041956DBD6}"/>
              </a:ext>
            </a:extLst>
          </p:cNvPr>
          <p:cNvCxnSpPr/>
          <p:nvPr/>
        </p:nvCxnSpPr>
        <p:spPr>
          <a:xfrm>
            <a:off x="2067713" y="6629400"/>
            <a:ext cx="83102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9CE8359-DA8F-4A6D-BDF0-E1D297719D41}"/>
              </a:ext>
            </a:extLst>
          </p:cNvPr>
          <p:cNvCxnSpPr/>
          <p:nvPr/>
        </p:nvCxnSpPr>
        <p:spPr>
          <a:xfrm>
            <a:off x="4132803" y="2177534"/>
            <a:ext cx="0" cy="44518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DEAA595-CF35-422D-A8B5-0751833CFB0A}"/>
              </a:ext>
            </a:extLst>
          </p:cNvPr>
          <p:cNvCxnSpPr/>
          <p:nvPr/>
        </p:nvCxnSpPr>
        <p:spPr>
          <a:xfrm>
            <a:off x="6613847" y="2176244"/>
            <a:ext cx="0" cy="44518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684B4CC-920A-40A7-A932-99582AA26BCE}"/>
              </a:ext>
            </a:extLst>
          </p:cNvPr>
          <p:cNvCxnSpPr/>
          <p:nvPr/>
        </p:nvCxnSpPr>
        <p:spPr>
          <a:xfrm>
            <a:off x="9069724" y="2177534"/>
            <a:ext cx="0" cy="44518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E6DD30E-5451-444D-87DE-832B0307AB84}"/>
              </a:ext>
            </a:extLst>
          </p:cNvPr>
          <p:cNvCxnSpPr/>
          <p:nvPr/>
        </p:nvCxnSpPr>
        <p:spPr>
          <a:xfrm>
            <a:off x="10373513" y="2167156"/>
            <a:ext cx="0" cy="44518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124F9B9-660D-4589-AA58-147BBD69874D}"/>
              </a:ext>
            </a:extLst>
          </p:cNvPr>
          <p:cNvCxnSpPr/>
          <p:nvPr/>
        </p:nvCxnSpPr>
        <p:spPr>
          <a:xfrm>
            <a:off x="2067713" y="3547195"/>
            <a:ext cx="0" cy="30718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B1CED550-2EB1-4CF1-95F4-527D4255CB3D}"/>
              </a:ext>
            </a:extLst>
          </p:cNvPr>
          <p:cNvCxnSpPr/>
          <p:nvPr/>
        </p:nvCxnSpPr>
        <p:spPr>
          <a:xfrm flipV="1">
            <a:off x="4132803" y="2169844"/>
            <a:ext cx="6234563" cy="76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58C3653F-D371-4A6C-D6E3-DFF0570FCFAF}"/>
              </a:ext>
            </a:extLst>
          </p:cNvPr>
          <p:cNvSpPr txBox="1"/>
          <p:nvPr/>
        </p:nvSpPr>
        <p:spPr>
          <a:xfrm flipH="1">
            <a:off x="78110" y="5890000"/>
            <a:ext cx="1199813" cy="400110"/>
          </a:xfrm>
          <a:prstGeom prst="rect">
            <a:avLst/>
          </a:prstGeom>
          <a:noFill/>
          <a:ln w="19050">
            <a:solidFill>
              <a:srgbClr val="1A3D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50000"/>
                  </a:schemeClr>
                </a:solidFill>
              </a:rPr>
              <a:t>Slide From Dann</a:t>
            </a:r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00277902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Output</a:t>
            </a:r>
          </a:p>
        </p:txBody>
      </p:sp>
      <p:pic>
        <p:nvPicPr>
          <p:cNvPr id="4" name="Picture 3" descr="A picture containing table&#10;&#10;Description automatically generated">
            <a:extLst>
              <a:ext uri="{FF2B5EF4-FFF2-40B4-BE49-F238E27FC236}">
                <a16:creationId xmlns:a16="http://schemas.microsoft.com/office/drawing/2014/main" id="{A2C0780B-E764-881A-2B45-A1C8D52AD6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33" y="1203030"/>
            <a:ext cx="11802533" cy="269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32765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</a:t>
            </a:r>
            <a:r>
              <a:rPr lang="en-US" dirty="0" err="1"/>
              <a:t>Output:event_info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80533E3-A655-13C3-9BDB-10E64E4BBBE9}"/>
              </a:ext>
            </a:extLst>
          </p:cNvPr>
          <p:cNvGraphicFramePr>
            <a:graphicFrameLocks noGrp="1"/>
          </p:cNvGraphicFramePr>
          <p:nvPr/>
        </p:nvGraphicFramePr>
        <p:xfrm>
          <a:off x="1397000" y="1271588"/>
          <a:ext cx="9398000" cy="43148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98000">
                  <a:extLst>
                    <a:ext uri="{9D8B030D-6E8A-4147-A177-3AD203B41FA5}">
                      <a16:colId xmlns:a16="http://schemas.microsoft.com/office/drawing/2014/main" val="2044591003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LSV Type:t|1e1.1o5|2e1.1o5|Exons coords:3180515-3180794;3182354-3182470|IR </a:t>
                      </a:r>
                      <a:r>
                        <a:rPr lang="en-US" sz="1200" u="none" strike="noStrike" dirty="0" err="1">
                          <a:effectLst/>
                        </a:rPr>
                        <a:t>coords</a:t>
                      </a:r>
                      <a:r>
                        <a:rPr lang="en-US" sz="1200" u="none" strike="noStrike" dirty="0">
                          <a:effectLst/>
                        </a:rPr>
                        <a:t>: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8234566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t|1e1.1o2|2e1.1o2|Exons coords:3132562-3132720;3132781-3132911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04544481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t|1e1.1o2|2e1.1o2|Exons coords:3206807-3206983;3207281-3207466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2306474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s|1e1.1o3|1e1.2o3|1e1.3o3|1e2.1o4|1e2.3o4|1e2.4o4|Exons coords:3212564-3213055;3213490-3213736;3213958-3214156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81066438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t|1e1.1o7|2e1.1o7|3e1.1o7|1e2.1o1|Exons coords:3212564-3213055;3213490-3213736;3213958-3214156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13093144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s|1e1.1o1|1e2.1o4|1e2.4o4|Exons coords:3199732-3199939;3202977-3203066;3204007-3204148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58028323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LSV Type:</a:t>
                      </a:r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t|1e1.1o2|1e2.1o3|2e2.1o3|1e3.1o1</a:t>
                      </a:r>
                      <a:r>
                        <a:rPr lang="en-US" sz="1200" u="none" strike="noStrike" dirty="0">
                          <a:effectLst/>
                        </a:rPr>
                        <a:t>|Exons coords:3188951-3189093;3199732-3199939;3202977-3203066;3204007-3204148|IR </a:t>
                      </a:r>
                      <a:r>
                        <a:rPr lang="en-US" sz="1200" u="none" strike="noStrike" dirty="0" err="1">
                          <a:effectLst/>
                        </a:rPr>
                        <a:t>coords</a:t>
                      </a:r>
                      <a:r>
                        <a:rPr lang="en-US" sz="1200" u="none" strike="noStrike" dirty="0">
                          <a:effectLst/>
                        </a:rPr>
                        <a:t>: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050345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LSV Type:t|1e1.1o2|1e2.1o3|2e2.1o3|1e3.1o1|Exons coords:3188951-3189093;3199732-3199939;3202977-3203066;3204007-3204148|IR </a:t>
                      </a:r>
                      <a:r>
                        <a:rPr lang="en-US" sz="1200" u="none" strike="noStrike" dirty="0" err="1">
                          <a:effectLst/>
                        </a:rPr>
                        <a:t>coords</a:t>
                      </a:r>
                      <a:r>
                        <a:rPr lang="en-US" sz="1200" u="none" strike="noStrike" dirty="0">
                          <a:effectLst/>
                        </a:rPr>
                        <a:t>: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28581761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LSV Type:s|1e1.1o1|1e2.1o4|1e2.4o4|Exons coords:3199732-3199939;3202977-3203066;3204007-3204148|IR </a:t>
                      </a:r>
                      <a:r>
                        <a:rPr lang="en-US" sz="1200" u="none" strike="noStrike" dirty="0" err="1">
                          <a:effectLst/>
                        </a:rPr>
                        <a:t>coords</a:t>
                      </a:r>
                      <a:r>
                        <a:rPr lang="en-US" sz="1200" u="none" strike="noStrike" dirty="0">
                          <a:effectLst/>
                        </a:rPr>
                        <a:t>: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1262127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t|2e1.1o2|1e2.1o2|2e2.1o2|Exons coords:3136226-3136326;3140510-3140656;3142745-3142886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7794805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LSV Type:t|1e1.1o2|2e2.1o1|Exons coords:3238447-3238609;3238818-3238978;3239436-3243960|IR </a:t>
                      </a:r>
                      <a:r>
                        <a:rPr lang="en-US" sz="1200" u="none" strike="noStrike" dirty="0" err="1">
                          <a:effectLst/>
                        </a:rPr>
                        <a:t>coords</a:t>
                      </a:r>
                      <a:r>
                        <a:rPr lang="en-US" sz="1200" u="none" strike="noStrike" dirty="0">
                          <a:effectLst/>
                        </a:rPr>
                        <a:t>: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03048851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t|2e1.1o2|1e2.1o2|2e2.1o2|Exons coords:3136226-3136326;3140510-3140656;3142745-3142886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97597241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LSV Type:</a:t>
                      </a:r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s|1e1.1o3|1e1.2o3|1e1.3o3|1e2.1o4|1e2.3o4|1e2.4o4</a:t>
                      </a:r>
                      <a:r>
                        <a:rPr lang="en-US" sz="1200" u="none" strike="noStrike" dirty="0">
                          <a:effectLst/>
                        </a:rPr>
                        <a:t>|Exons coords:3212564-3213055;3213490-3213736;3213958-3214156|IR </a:t>
                      </a:r>
                      <a:r>
                        <a:rPr lang="en-US" sz="1200" u="none" strike="noStrike" dirty="0" err="1">
                          <a:effectLst/>
                        </a:rPr>
                        <a:t>coords</a:t>
                      </a:r>
                      <a:r>
                        <a:rPr lang="en-US" sz="1200" u="none" strike="noStrike" dirty="0">
                          <a:effectLst/>
                        </a:rPr>
                        <a:t>: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03167439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t|2e1.1o2|1e2.1o2|2e2.1o2|Exons coords:3136226-3136326;3140510-3140656;3142745-3142886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74812739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t|1e1.1o7|2e1.1o7|3e1.1o7|1e2.1o1|Exons coords:3212564-3213055;3213490-3213736;3213958-3214156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896049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SV Type:t|1e1.1o2|2e2.1o1|Exons coords:3238447-3238609;3238818-3238978;3239436-3243960|IR coords: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545833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LSV Type:s|1e1.1o3|1e1.2o3|1e1.3o3|1e2.1o4|1e2.3o4|1e2.4o4|Exons coords:3212564-3213055;3213490-3213736;3213958-3214156|IR </a:t>
                      </a:r>
                      <a:r>
                        <a:rPr lang="en-US" sz="1200" u="none" strike="noStrike" dirty="0" err="1">
                          <a:effectLst/>
                        </a:rPr>
                        <a:t>coords</a:t>
                      </a:r>
                      <a:r>
                        <a:rPr lang="en-US" sz="1200" u="none" strike="noStrike" dirty="0">
                          <a:effectLst/>
                        </a:rPr>
                        <a:t>: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71989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566173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5D538DF6-2F34-60C9-D648-331D727049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994" y="1771193"/>
            <a:ext cx="4076700" cy="1270000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11229FB2-F5EB-6C33-167A-62A166C00F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434" y="3036838"/>
            <a:ext cx="4076700" cy="12573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4C13C05-7BDA-5CED-C4D4-DB77AA5A7814}"/>
              </a:ext>
            </a:extLst>
          </p:cNvPr>
          <p:cNvSpPr/>
          <p:nvPr/>
        </p:nvSpPr>
        <p:spPr>
          <a:xfrm>
            <a:off x="5789714" y="2406193"/>
            <a:ext cx="3902030" cy="369332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0)          </a:t>
            </a:r>
            <a:r>
              <a:rPr lang="en-US" dirty="0">
                <a:solidFill>
                  <a:srgbClr val="FF0000"/>
                </a:solidFill>
              </a:rPr>
              <a:t>s</a:t>
            </a:r>
            <a:r>
              <a:rPr lang="en-US" dirty="0"/>
              <a:t>|</a:t>
            </a:r>
            <a:r>
              <a:rPr lang="en-US" dirty="0">
                <a:solidFill>
                  <a:srgbClr val="0432FF"/>
                </a:solidFill>
              </a:rPr>
              <a:t>1e1</a:t>
            </a:r>
            <a:r>
              <a:rPr lang="en-US" dirty="0"/>
              <a:t>.1o1|</a:t>
            </a:r>
            <a:r>
              <a:rPr lang="en-US" dirty="0">
                <a:solidFill>
                  <a:srgbClr val="0432FF"/>
                </a:solidFill>
              </a:rPr>
              <a:t>1e2</a:t>
            </a:r>
            <a:r>
              <a:rPr lang="en-US" dirty="0"/>
              <a:t>.1o1|</a:t>
            </a:r>
            <a:r>
              <a:rPr lang="en-US" dirty="0">
                <a:solidFill>
                  <a:srgbClr val="0432FF"/>
                </a:solidFill>
              </a:rPr>
              <a:t>1e3</a:t>
            </a:r>
            <a:r>
              <a:rPr lang="en-US" dirty="0"/>
              <a:t>.1o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87A6C2-805F-4A78-7DFB-C42E1276D67D}"/>
              </a:ext>
            </a:extLst>
          </p:cNvPr>
          <p:cNvSpPr/>
          <p:nvPr/>
        </p:nvSpPr>
        <p:spPr>
          <a:xfrm>
            <a:off x="5789714" y="3713144"/>
            <a:ext cx="3021981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1)           </a:t>
            </a:r>
            <a:r>
              <a:rPr lang="en-US" dirty="0">
                <a:solidFill>
                  <a:srgbClr val="00B050"/>
                </a:solidFill>
              </a:rPr>
              <a:t>t</a:t>
            </a:r>
            <a:r>
              <a:rPr lang="en-US" dirty="0"/>
              <a:t>|</a:t>
            </a:r>
            <a:r>
              <a:rPr lang="en-US" dirty="0">
                <a:solidFill>
                  <a:srgbClr val="1A3DFF"/>
                </a:solidFill>
              </a:rPr>
              <a:t>1e1</a:t>
            </a:r>
            <a:r>
              <a:rPr lang="en-US" dirty="0"/>
              <a:t>.1o1|</a:t>
            </a:r>
            <a:r>
              <a:rPr lang="en-US" dirty="0">
                <a:solidFill>
                  <a:srgbClr val="1A3DFF"/>
                </a:solidFill>
              </a:rPr>
              <a:t>1e2</a:t>
            </a:r>
            <a:r>
              <a:rPr lang="en-US" dirty="0"/>
              <a:t>.1o1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647BCA4-D6B8-5411-8183-2CB895F3962C}"/>
              </a:ext>
            </a:extLst>
          </p:cNvPr>
          <p:cNvCxnSpPr/>
          <p:nvPr/>
        </p:nvCxnSpPr>
        <p:spPr>
          <a:xfrm flipV="1">
            <a:off x="130629" y="3036838"/>
            <a:ext cx="509805" cy="57465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2586DA2-7703-83B1-AC4E-A3ED730AF279}"/>
              </a:ext>
            </a:extLst>
          </p:cNvPr>
          <p:cNvCxnSpPr/>
          <p:nvPr/>
        </p:nvCxnSpPr>
        <p:spPr>
          <a:xfrm flipV="1">
            <a:off x="3733160" y="4306838"/>
            <a:ext cx="509805" cy="5746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0146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CAA90482-DDB8-4B34-B120-4C48D2578B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847" y="1591228"/>
            <a:ext cx="4241800" cy="1257300"/>
          </a:xfrm>
          <a:prstGeom prst="rect">
            <a:avLst/>
          </a:prstGeom>
        </p:spPr>
      </p:pic>
      <p:pic>
        <p:nvPicPr>
          <p:cNvPr id="5" name="Picture 4" descr="A picture containing chart&#10;&#10;Description automatically generated">
            <a:extLst>
              <a:ext uri="{FF2B5EF4-FFF2-40B4-BE49-F238E27FC236}">
                <a16:creationId xmlns:a16="http://schemas.microsoft.com/office/drawing/2014/main" id="{859C49D6-18E7-58C3-ED13-FCB695AF55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4" y="3128848"/>
            <a:ext cx="4203700" cy="12319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64617D-9A4A-96E5-28D5-DFD600DBE07B}"/>
              </a:ext>
            </a:extLst>
          </p:cNvPr>
          <p:cNvSpPr/>
          <p:nvPr/>
        </p:nvSpPr>
        <p:spPr>
          <a:xfrm>
            <a:off x="5543825" y="2391491"/>
            <a:ext cx="3722494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5)        </a:t>
            </a:r>
            <a:r>
              <a:rPr lang="en-US" dirty="0">
                <a:solidFill>
                  <a:srgbClr val="00B050"/>
                </a:solidFill>
              </a:rPr>
              <a:t>t</a:t>
            </a:r>
            <a:r>
              <a:rPr lang="en-US" dirty="0"/>
              <a:t>|</a:t>
            </a:r>
            <a:r>
              <a:rPr lang="en-US" dirty="0">
                <a:solidFill>
                  <a:srgbClr val="1A3DFF"/>
                </a:solidFill>
              </a:rPr>
              <a:t>1e1</a:t>
            </a:r>
            <a:r>
              <a:rPr lang="en-US" dirty="0"/>
              <a:t>.</a:t>
            </a:r>
            <a:r>
              <a:rPr lang="en-US" dirty="0">
                <a:solidFill>
                  <a:srgbClr val="FF0000"/>
                </a:solidFill>
              </a:rPr>
              <a:t>1o2</a:t>
            </a:r>
            <a:r>
              <a:rPr lang="en-US" dirty="0"/>
              <a:t>|</a:t>
            </a:r>
            <a:r>
              <a:rPr lang="en-US" dirty="0">
                <a:solidFill>
                  <a:srgbClr val="1A3DFF"/>
                </a:solidFill>
              </a:rPr>
              <a:t>1e2</a:t>
            </a:r>
            <a:r>
              <a:rPr lang="en-US" dirty="0"/>
              <a:t>.1o1|</a:t>
            </a:r>
            <a:r>
              <a:rPr lang="en-US" dirty="0">
                <a:solidFill>
                  <a:srgbClr val="0432FF"/>
                </a:solidFill>
              </a:rPr>
              <a:t>1e3</a:t>
            </a:r>
            <a:r>
              <a:rPr lang="en-US" dirty="0"/>
              <a:t>.1o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E90EBF-DFF7-63C5-F900-2578AB07A8B1}"/>
              </a:ext>
            </a:extLst>
          </p:cNvPr>
          <p:cNvSpPr/>
          <p:nvPr/>
        </p:nvSpPr>
        <p:spPr>
          <a:xfrm>
            <a:off x="5543825" y="3991416"/>
            <a:ext cx="3786614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9)        t|</a:t>
            </a:r>
            <a:r>
              <a:rPr lang="en-US" dirty="0">
                <a:solidFill>
                  <a:srgbClr val="0432FF"/>
                </a:solidFill>
              </a:rPr>
              <a:t>2e1</a:t>
            </a:r>
            <a:r>
              <a:rPr lang="en-US" dirty="0"/>
              <a:t>.</a:t>
            </a:r>
            <a:r>
              <a:rPr lang="en-US" dirty="0">
                <a:solidFill>
                  <a:srgbClr val="FF0000"/>
                </a:solidFill>
              </a:rPr>
              <a:t>1o3</a:t>
            </a:r>
            <a:r>
              <a:rPr lang="en-US" dirty="0"/>
              <a:t>|2e1.</a:t>
            </a:r>
            <a:r>
              <a:rPr lang="en-US" dirty="0">
                <a:solidFill>
                  <a:srgbClr val="FF0000"/>
                </a:solidFill>
              </a:rPr>
              <a:t>2o3</a:t>
            </a:r>
            <a:r>
              <a:rPr lang="en-US" dirty="0"/>
              <a:t>|2e2.1o1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B65403A-1B57-6043-3DC8-5C34988F1C38}"/>
              </a:ext>
            </a:extLst>
          </p:cNvPr>
          <p:cNvCxnSpPr/>
          <p:nvPr/>
        </p:nvCxnSpPr>
        <p:spPr>
          <a:xfrm flipV="1">
            <a:off x="383396" y="2854342"/>
            <a:ext cx="509805" cy="5746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EECD6BE-AB36-2AC8-4610-B704F510EF83}"/>
              </a:ext>
            </a:extLst>
          </p:cNvPr>
          <p:cNvCxnSpPr/>
          <p:nvPr/>
        </p:nvCxnSpPr>
        <p:spPr>
          <a:xfrm flipV="1">
            <a:off x="638298" y="2854342"/>
            <a:ext cx="509805" cy="5746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FC24272-72D7-8DE2-5740-1F307968B73E}"/>
              </a:ext>
            </a:extLst>
          </p:cNvPr>
          <p:cNvCxnSpPr/>
          <p:nvPr/>
        </p:nvCxnSpPr>
        <p:spPr>
          <a:xfrm flipV="1">
            <a:off x="471994" y="4360748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5B7D8F3-0B2A-E40F-3E76-96E06A57B2BB}"/>
              </a:ext>
            </a:extLst>
          </p:cNvPr>
          <p:cNvCxnSpPr/>
          <p:nvPr/>
        </p:nvCxnSpPr>
        <p:spPr>
          <a:xfrm flipV="1">
            <a:off x="694282" y="4360748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82F649D-E984-AC92-3678-28EC3250A577}"/>
              </a:ext>
            </a:extLst>
          </p:cNvPr>
          <p:cNvCxnSpPr/>
          <p:nvPr/>
        </p:nvCxnSpPr>
        <p:spPr>
          <a:xfrm flipV="1">
            <a:off x="889161" y="4373571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A7F0EBE-108D-CCF2-7FA3-8F6E62BF1017}"/>
              </a:ext>
            </a:extLst>
          </p:cNvPr>
          <p:cNvCxnSpPr/>
          <p:nvPr/>
        </p:nvCxnSpPr>
        <p:spPr>
          <a:xfrm flipV="1">
            <a:off x="2896765" y="4373571"/>
            <a:ext cx="509805" cy="574658"/>
          </a:xfrm>
          <a:prstGeom prst="straightConnector1">
            <a:avLst/>
          </a:prstGeom>
          <a:ln>
            <a:solidFill>
              <a:schemeClr val="accent3">
                <a:lumMod val="50000"/>
                <a:lumOff val="50000"/>
              </a:schemeClr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A830572-1653-0BF9-A416-1D6FF1BBDD14}"/>
              </a:ext>
            </a:extLst>
          </p:cNvPr>
          <p:cNvCxnSpPr/>
          <p:nvPr/>
        </p:nvCxnSpPr>
        <p:spPr>
          <a:xfrm flipV="1">
            <a:off x="3114949" y="4386394"/>
            <a:ext cx="509805" cy="574658"/>
          </a:xfrm>
          <a:prstGeom prst="straightConnector1">
            <a:avLst/>
          </a:prstGeom>
          <a:ln>
            <a:solidFill>
              <a:schemeClr val="accent3">
                <a:lumMod val="50000"/>
                <a:lumOff val="50000"/>
              </a:schemeClr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594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698FA1E-A854-5523-CED6-9C89CE4F13FF}"/>
              </a:ext>
            </a:extLst>
          </p:cNvPr>
          <p:cNvSpPr/>
          <p:nvPr/>
        </p:nvSpPr>
        <p:spPr>
          <a:xfrm>
            <a:off x="5084893" y="2037941"/>
            <a:ext cx="5128327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16)             t|1e1.2o3|1e2.1o1|1e</a:t>
            </a:r>
            <a:r>
              <a:rPr lang="en-US" dirty="0">
                <a:solidFill>
                  <a:srgbClr val="FF0000"/>
                </a:solidFill>
              </a:rPr>
              <a:t>3.1o2</a:t>
            </a:r>
            <a:r>
              <a:rPr lang="en-US" dirty="0"/>
              <a:t>|1e</a:t>
            </a:r>
            <a:r>
              <a:rPr lang="en-US" dirty="0">
                <a:solidFill>
                  <a:srgbClr val="FF0000"/>
                </a:solidFill>
              </a:rPr>
              <a:t>3.2o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3E5EFE-F562-935E-C037-92B0DB2DB77C}"/>
              </a:ext>
            </a:extLst>
          </p:cNvPr>
          <p:cNvSpPr/>
          <p:nvPr/>
        </p:nvSpPr>
        <p:spPr>
          <a:xfrm>
            <a:off x="5084893" y="3545840"/>
            <a:ext cx="2618024" cy="400110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135)           s|1e1.1o1|</a:t>
            </a:r>
            <a:r>
              <a:rPr lang="en-US" sz="2000" dirty="0">
                <a:solidFill>
                  <a:srgbClr val="FF0000"/>
                </a:solidFill>
              </a:rPr>
              <a:t>i</a:t>
            </a:r>
            <a:r>
              <a:rPr lang="en-US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11" name="Picture 10" descr="Chart, line chart&#10;&#10;Description automatically generated">
            <a:extLst>
              <a:ext uri="{FF2B5EF4-FFF2-40B4-BE49-F238E27FC236}">
                <a16:creationId xmlns:a16="http://schemas.microsoft.com/office/drawing/2014/main" id="{204E3156-A21A-B13A-18B5-A36EA67ADD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4463458"/>
            <a:ext cx="3507122" cy="965200"/>
          </a:xfrm>
          <a:prstGeom prst="rect">
            <a:avLst/>
          </a:prstGeom>
        </p:spPr>
      </p:pic>
      <p:pic>
        <p:nvPicPr>
          <p:cNvPr id="7" name="Picture 6" descr="A picture containing diagram&#10;&#10;Description automatically generated">
            <a:extLst>
              <a:ext uri="{FF2B5EF4-FFF2-40B4-BE49-F238E27FC236}">
                <a16:creationId xmlns:a16="http://schemas.microsoft.com/office/drawing/2014/main" id="{46261D7E-2AAC-790C-A8FE-E1127BBFEE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3169920"/>
            <a:ext cx="3740360" cy="914400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3D620E0-2CE8-BC20-EC28-7F9925E06A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990682"/>
            <a:ext cx="3740360" cy="8001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6D20FDB-8FDB-3F3D-93BB-6C41D680E44A}"/>
              </a:ext>
            </a:extLst>
          </p:cNvPr>
          <p:cNvSpPr/>
          <p:nvPr/>
        </p:nvSpPr>
        <p:spPr>
          <a:xfrm>
            <a:off x="9495075" y="6284023"/>
            <a:ext cx="2927404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t|2e1.1o1|3e1.1o1|3e2.1o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2989BB-08EE-E7ED-048A-511DB5E3DE49}"/>
              </a:ext>
            </a:extLst>
          </p:cNvPr>
          <p:cNvSpPr/>
          <p:nvPr/>
        </p:nvSpPr>
        <p:spPr>
          <a:xfrm>
            <a:off x="5049080" y="4899851"/>
            <a:ext cx="6096000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>
            <a:spAutoFit/>
          </a:bodyPr>
          <a:lstStyle/>
          <a:p>
            <a:r>
              <a:rPr lang="en-US" dirty="0"/>
              <a:t>(1572)        t|1e1.1o3|</a:t>
            </a:r>
            <a:r>
              <a:rPr lang="en-US" dirty="0">
                <a:solidFill>
                  <a:srgbClr val="FF0000"/>
                </a:solidFill>
              </a:rPr>
              <a:t>2e</a:t>
            </a:r>
            <a:r>
              <a:rPr lang="en-US" dirty="0"/>
              <a:t>1.1o3|i</a:t>
            </a:r>
          </a:p>
        </p:txBody>
      </p:sp>
    </p:spTree>
    <p:extLst>
      <p:ext uri="{BB962C8B-B14F-4D97-AF65-F5344CB8AC3E}">
        <p14:creationId xmlns:p14="http://schemas.microsoft.com/office/powerpoint/2010/main" val="33987906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C81A5917-934A-3696-F63C-5BBC4C296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668188"/>
            <a:ext cx="4140200" cy="101354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DE1D939-5E67-FF80-21C7-F0AC084A2A9D}"/>
              </a:ext>
            </a:extLst>
          </p:cNvPr>
          <p:cNvSpPr/>
          <p:nvPr/>
        </p:nvSpPr>
        <p:spPr>
          <a:xfrm>
            <a:off x="5372213" y="2460563"/>
            <a:ext cx="3897221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2)       s|1e1.1o1|1e2.1o1|1e3.1o1|</a:t>
            </a:r>
            <a:r>
              <a:rPr lang="en-US" b="1" dirty="0">
                <a:solidFill>
                  <a:srgbClr val="FF0000"/>
                </a:solidFill>
              </a:rPr>
              <a:t>i 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D7CA23B-37A8-0F60-AB37-90A5D23707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99" y="3197304"/>
            <a:ext cx="3915044" cy="1214068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303925A2-AABA-77AB-36E4-184EDB0BAA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99" y="4990032"/>
            <a:ext cx="3769047" cy="889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74C179-9F31-113E-8009-99254570A32D}"/>
              </a:ext>
            </a:extLst>
          </p:cNvPr>
          <p:cNvSpPr/>
          <p:nvPr/>
        </p:nvSpPr>
        <p:spPr>
          <a:xfrm>
            <a:off x="5372213" y="3720246"/>
            <a:ext cx="4666662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13)     s|1e1.1o1|1e2.</a:t>
            </a:r>
            <a:r>
              <a:rPr lang="en-US" dirty="0">
                <a:solidFill>
                  <a:srgbClr val="1A3DFF"/>
                </a:solidFill>
              </a:rPr>
              <a:t>2o2</a:t>
            </a:r>
            <a:r>
              <a:rPr lang="en-US" dirty="0"/>
              <a:t>|1e3.1o1|1e4.</a:t>
            </a:r>
            <a:r>
              <a:rPr lang="en-US" dirty="0">
                <a:solidFill>
                  <a:srgbClr val="1A3DFF"/>
                </a:solidFill>
              </a:rPr>
              <a:t>2o2</a:t>
            </a:r>
            <a:r>
              <a:rPr lang="en-US" dirty="0"/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62FEC2-36E9-942A-5509-B4B2FD0584A7}"/>
              </a:ext>
            </a:extLst>
          </p:cNvPr>
          <p:cNvSpPr/>
          <p:nvPr/>
        </p:nvSpPr>
        <p:spPr>
          <a:xfrm>
            <a:off x="5372213" y="5165343"/>
            <a:ext cx="3837910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22)      s|1e1.1o1|1e2.2o2|</a:t>
            </a:r>
            <a:r>
              <a:rPr lang="en-US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2e</a:t>
            </a:r>
            <a:r>
              <a:rPr lang="en-US" dirty="0"/>
              <a:t>2.</a:t>
            </a:r>
            <a:r>
              <a:rPr lang="en-US" dirty="0">
                <a:solidFill>
                  <a:srgbClr val="0432FF"/>
                </a:solidFill>
              </a:rPr>
              <a:t>2o2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485454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698FA1E-A854-5523-CED6-9C89CE4F13FF}"/>
              </a:ext>
            </a:extLst>
          </p:cNvPr>
          <p:cNvSpPr/>
          <p:nvPr/>
        </p:nvSpPr>
        <p:spPr>
          <a:xfrm>
            <a:off x="5084893" y="5729954"/>
            <a:ext cx="4743606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1779)   t|1e1.1o1|2e2.</a:t>
            </a:r>
            <a:r>
              <a:rPr lang="en-US" dirty="0">
                <a:solidFill>
                  <a:srgbClr val="FF0000"/>
                </a:solidFill>
              </a:rPr>
              <a:t>1o5</a:t>
            </a:r>
            <a:r>
              <a:rPr lang="en-US" dirty="0"/>
              <a:t>|3e2.</a:t>
            </a:r>
            <a:r>
              <a:rPr lang="en-US" dirty="0">
                <a:solidFill>
                  <a:srgbClr val="FF0000"/>
                </a:solidFill>
              </a:rPr>
              <a:t>2o5</a:t>
            </a:r>
            <a:r>
              <a:rPr lang="en-US" dirty="0"/>
              <a:t>|4e2.</a:t>
            </a:r>
            <a:r>
              <a:rPr lang="en-US" dirty="0">
                <a:solidFill>
                  <a:srgbClr val="FF0000"/>
                </a:solidFill>
              </a:rPr>
              <a:t>3o5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3E5EFE-F562-935E-C037-92B0DB2DB77C}"/>
              </a:ext>
            </a:extLst>
          </p:cNvPr>
          <p:cNvSpPr/>
          <p:nvPr/>
        </p:nvSpPr>
        <p:spPr>
          <a:xfrm>
            <a:off x="5084893" y="2142105"/>
            <a:ext cx="4491935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1573)              t|</a:t>
            </a:r>
            <a:r>
              <a:rPr lang="en-US" dirty="0">
                <a:solidFill>
                  <a:srgbClr val="FF0000"/>
                </a:solidFill>
              </a:rPr>
              <a:t>2e1</a:t>
            </a:r>
            <a:r>
              <a:rPr lang="en-US" dirty="0"/>
              <a:t>.1o1|3e1.1o1|3e2.1o2</a:t>
            </a:r>
          </a:p>
        </p:txBody>
      </p:sp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2B391BCA-8A75-53C8-33C3-3BEBD4F8A2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98" y="4141316"/>
            <a:ext cx="3661940" cy="901700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83723D67-FDC6-5F89-22DC-66531BF661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98" y="5311886"/>
            <a:ext cx="3661940" cy="787400"/>
          </a:xfrm>
          <a:prstGeom prst="rect">
            <a:avLst/>
          </a:prstGeom>
        </p:spPr>
      </p:pic>
      <p:pic>
        <p:nvPicPr>
          <p:cNvPr id="8" name="Picture 7" descr="A picture containing text, device, meter&#10;&#10;Description automatically generated">
            <a:extLst>
              <a:ext uri="{FF2B5EF4-FFF2-40B4-BE49-F238E27FC236}">
                <a16:creationId xmlns:a16="http://schemas.microsoft.com/office/drawing/2014/main" id="{FC961920-701D-F415-C344-EE892E328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98" y="2930152"/>
            <a:ext cx="3790525" cy="825500"/>
          </a:xfrm>
          <a:prstGeom prst="rect">
            <a:avLst/>
          </a:prstGeom>
        </p:spPr>
      </p:pic>
      <p:pic>
        <p:nvPicPr>
          <p:cNvPr id="10" name="Picture 9" descr="A picture containing text, device, meter, gauge&#10;&#10;Description automatically generated">
            <a:extLst>
              <a:ext uri="{FF2B5EF4-FFF2-40B4-BE49-F238E27FC236}">
                <a16:creationId xmlns:a16="http://schemas.microsoft.com/office/drawing/2014/main" id="{D73AA691-62C9-DE7B-BF04-F95FB83287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99" y="1668188"/>
            <a:ext cx="3790525" cy="8763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0C79CC6-9995-8459-7479-1A4ADC653886}"/>
              </a:ext>
            </a:extLst>
          </p:cNvPr>
          <p:cNvSpPr/>
          <p:nvPr/>
        </p:nvSpPr>
        <p:spPr>
          <a:xfrm>
            <a:off x="4990215" y="4529157"/>
            <a:ext cx="72356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(1645) t|1e1.1o1|2e2.1o6|2e2.2o6|3e2.3o6|4e2.3o6|4e2.4o6|5e2.5o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206F9A-C9D1-0302-EF44-99EBDFB8AB46}"/>
              </a:ext>
            </a:extLst>
          </p:cNvPr>
          <p:cNvSpPr/>
          <p:nvPr/>
        </p:nvSpPr>
        <p:spPr>
          <a:xfrm>
            <a:off x="4956306" y="3342902"/>
            <a:ext cx="63369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(1638) t|1e1.1o1|2e1.1o1|2e2.1o1|2e3.1o3|2e3.2o3|2e3.3o3</a:t>
            </a:r>
          </a:p>
        </p:txBody>
      </p:sp>
    </p:spTree>
    <p:extLst>
      <p:ext uri="{BB962C8B-B14F-4D97-AF65-F5344CB8AC3E}">
        <p14:creationId xmlns:p14="http://schemas.microsoft.com/office/powerpoint/2010/main" val="3457525015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822B52A-E048-FA9F-9A6B-5EC33CAC439C}"/>
              </a:ext>
            </a:extLst>
          </p:cNvPr>
          <p:cNvSpPr/>
          <p:nvPr/>
        </p:nvSpPr>
        <p:spPr>
          <a:xfrm>
            <a:off x="587799" y="2085309"/>
            <a:ext cx="10927925" cy="1754326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342900" indent="-342900">
              <a:buAutoNum type="arabicParenBoth"/>
            </a:pPr>
            <a:r>
              <a:rPr lang="en-US" dirty="0"/>
              <a:t>chr4	+	HTT	ENSG00000197386.12:</a:t>
            </a:r>
            <a:r>
              <a:rPr lang="en-US" dirty="0">
                <a:solidFill>
                  <a:srgbClr val="00B050"/>
                </a:solidFill>
              </a:rPr>
              <a:t>s:</a:t>
            </a:r>
            <a:r>
              <a:rPr lang="en-US" dirty="0">
                <a:solidFill>
                  <a:srgbClr val="FF0000"/>
                </a:solidFill>
              </a:rPr>
              <a:t>3212564-3213055</a:t>
            </a:r>
            <a:r>
              <a:rPr lang="en-US" dirty="0"/>
              <a:t>	 </a:t>
            </a:r>
          </a:p>
          <a:p>
            <a:r>
              <a:rPr lang="en-US" dirty="0"/>
              <a:t>           LSV Type:s|1e1.1o3|1e1.2o3|1e1.3o3|1e2.1o4|1e2.3o4|1e2.4o4|         </a:t>
            </a:r>
          </a:p>
          <a:p>
            <a:pPr marL="342900" indent="-342900">
              <a:buAutoNum type="arabicParenBoth"/>
            </a:pPr>
            <a:endParaRPr lang="en-US" dirty="0"/>
          </a:p>
          <a:p>
            <a:r>
              <a:rPr lang="en-US" dirty="0"/>
              <a:t> Exons coords:</a:t>
            </a:r>
            <a:r>
              <a:rPr lang="en-US" dirty="0">
                <a:solidFill>
                  <a:srgbClr val="FF0000"/>
                </a:solidFill>
              </a:rPr>
              <a:t>3212564-3213055</a:t>
            </a:r>
            <a:r>
              <a:rPr lang="en-US" dirty="0"/>
              <a:t>;</a:t>
            </a:r>
          </a:p>
          <a:p>
            <a:r>
              <a:rPr lang="en-US" dirty="0"/>
              <a:t>                                                      3213490-3213736;</a:t>
            </a:r>
          </a:p>
          <a:p>
            <a:r>
              <a:rPr lang="en-US" dirty="0"/>
              <a:t>                                                                                     3213958-3214156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A35293-5BA2-5AB2-D5DF-875AA0BA9449}"/>
              </a:ext>
            </a:extLst>
          </p:cNvPr>
          <p:cNvSpPr/>
          <p:nvPr/>
        </p:nvSpPr>
        <p:spPr>
          <a:xfrm>
            <a:off x="587798" y="3975628"/>
            <a:ext cx="10927925" cy="147732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342900" indent="-342900">
              <a:buAutoNum type="arabicParenR" startAt="3"/>
            </a:pPr>
            <a:r>
              <a:rPr lang="en-US" dirty="0"/>
              <a:t>chr4	+	HTT	ENSG00000197386.12:</a:t>
            </a:r>
            <a:r>
              <a:rPr lang="en-US" dirty="0">
                <a:solidFill>
                  <a:srgbClr val="0432FF"/>
                </a:solidFill>
              </a:rPr>
              <a:t>t:</a:t>
            </a:r>
            <a:r>
              <a:rPr lang="en-US" dirty="0">
                <a:solidFill>
                  <a:srgbClr val="FF0000"/>
                </a:solidFill>
              </a:rPr>
              <a:t>3130305-3130423</a:t>
            </a:r>
            <a:r>
              <a:rPr lang="en-US" dirty="0"/>
              <a:t>	</a:t>
            </a:r>
          </a:p>
          <a:p>
            <a:r>
              <a:rPr lang="en-US" dirty="0"/>
              <a:t>           LSV Type:t|1e1.1o4|1e1.2o4|1e1.3o4|i|</a:t>
            </a:r>
          </a:p>
          <a:p>
            <a:r>
              <a:rPr lang="en-US" dirty="0"/>
              <a:t> Exons coords:3128339-3130062;</a:t>
            </a:r>
          </a:p>
          <a:p>
            <a:r>
              <a:rPr lang="en-US" dirty="0"/>
              <a:t>                                                    </a:t>
            </a:r>
            <a:r>
              <a:rPr lang="en-US" dirty="0">
                <a:solidFill>
                  <a:srgbClr val="1A3DFF"/>
                </a:solidFill>
              </a:rPr>
              <a:t>3130063-3130304</a:t>
            </a:r>
            <a:r>
              <a:rPr lang="en-US" dirty="0"/>
              <a:t>;</a:t>
            </a:r>
            <a:br>
              <a:rPr lang="en-US" dirty="0"/>
            </a:br>
            <a:r>
              <a:rPr lang="en-US" dirty="0"/>
              <a:t>                                                                                  </a:t>
            </a:r>
            <a:r>
              <a:rPr lang="en-US" dirty="0">
                <a:solidFill>
                  <a:srgbClr val="FF0000"/>
                </a:solidFill>
              </a:rPr>
              <a:t>3130305-3130423</a:t>
            </a:r>
            <a:r>
              <a:rPr lang="en-US" dirty="0"/>
              <a:t>|</a:t>
            </a:r>
            <a:r>
              <a:rPr lang="en-US" dirty="0">
                <a:solidFill>
                  <a:srgbClr val="1A3DFF"/>
                </a:solidFill>
              </a:rPr>
              <a:t>IR coords:3130063-3130304</a:t>
            </a:r>
          </a:p>
        </p:txBody>
      </p:sp>
    </p:spTree>
    <p:extLst>
      <p:ext uri="{BB962C8B-B14F-4D97-AF65-F5344CB8AC3E}">
        <p14:creationId xmlns:p14="http://schemas.microsoft.com/office/powerpoint/2010/main" val="447496709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/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URAGU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M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611404" y="5816450"/>
            <a:ext cx="4457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ref: </a:t>
            </a:r>
            <a:r>
              <a:rPr lang="en-US" sz="1200" dirty="0" err="1"/>
              <a:t>Ratni</a:t>
            </a:r>
            <a:r>
              <a:rPr lang="en-US" sz="1200" dirty="0"/>
              <a:t> Roche review, Progress Medicinal Chem V58, 2019)</a:t>
            </a:r>
          </a:p>
        </p:txBody>
      </p:sp>
    </p:spTree>
    <p:extLst>
      <p:ext uri="{BB962C8B-B14F-4D97-AF65-F5344CB8AC3E}">
        <p14:creationId xmlns:p14="http://schemas.microsoft.com/office/powerpoint/2010/main" val="230124855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796" y="694245"/>
            <a:ext cx="11425211" cy="684355"/>
          </a:xfrm>
        </p:spPr>
        <p:txBody>
          <a:bodyPr/>
          <a:lstStyle/>
          <a:p>
            <a:pPr marL="571500" indent="-571500">
              <a:buFont typeface="Wingdings" pitchFamily="2" charset="2"/>
              <a:buChar char="Ø"/>
            </a:pPr>
            <a:r>
              <a:rPr lang="en-US" dirty="0"/>
              <a:t>Tool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AAF9261-0767-7015-72C9-E7944D5C1431}"/>
              </a:ext>
            </a:extLst>
          </p:cNvPr>
          <p:cNvSpPr txBox="1">
            <a:spLocks/>
          </p:cNvSpPr>
          <p:nvPr/>
        </p:nvSpPr>
        <p:spPr>
          <a:xfrm>
            <a:off x="289796" y="18330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571500" indent="-571500">
              <a:buFont typeface="Wingdings" pitchFamily="2" charset="2"/>
              <a:buChar char="Ø"/>
            </a:pPr>
            <a:r>
              <a:rPr lang="en-US" dirty="0"/>
              <a:t>On-Target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C690DE0-2CE1-9A34-4471-64F483029F0C}"/>
              </a:ext>
            </a:extLst>
          </p:cNvPr>
          <p:cNvSpPr txBox="1">
            <a:spLocks/>
          </p:cNvSpPr>
          <p:nvPr/>
        </p:nvSpPr>
        <p:spPr>
          <a:xfrm>
            <a:off x="289796" y="29718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571500" indent="-571500">
              <a:buFont typeface="Wingdings" pitchFamily="2" charset="2"/>
              <a:buChar char="Ø"/>
            </a:pPr>
            <a:r>
              <a:rPr lang="en-US" dirty="0"/>
              <a:t>Off-Target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8493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-Targets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EDE131-91C0-C131-9739-65D6A55FBAFE}"/>
              </a:ext>
            </a:extLst>
          </p:cNvPr>
          <p:cNvSpPr txBox="1"/>
          <p:nvPr/>
        </p:nvSpPr>
        <p:spPr>
          <a:xfrm>
            <a:off x="161364" y="1557341"/>
            <a:ext cx="118632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https://</a:t>
            </a:r>
            <a:r>
              <a:rPr lang="en-US" sz="1600" dirty="0" err="1"/>
              <a:t>biib-my.sharepoint.com</a:t>
            </a:r>
            <a:r>
              <a:rPr lang="en-US" sz="1600" dirty="0"/>
              <a:t>/:f:/g/personal/</a:t>
            </a:r>
            <a:r>
              <a:rPr lang="en-US" sz="1600" dirty="0" err="1"/>
              <a:t>zhen_gao_biogen_com</a:t>
            </a:r>
            <a:r>
              <a:rPr lang="en-US" sz="1600" dirty="0"/>
              <a:t>/EtKRSWvfucZPh73OPDE8GEQBS8sdt0s64LN2qI6kN6h_-w</a:t>
            </a:r>
          </a:p>
        </p:txBody>
      </p:sp>
    </p:spTree>
    <p:extLst>
      <p:ext uri="{BB962C8B-B14F-4D97-AF65-F5344CB8AC3E}">
        <p14:creationId xmlns:p14="http://schemas.microsoft.com/office/powerpoint/2010/main" val="163630506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elected region</a:t>
            </a:r>
          </a:p>
        </p:txBody>
      </p:sp>
    </p:spTree>
    <p:extLst>
      <p:ext uri="{BB962C8B-B14F-4D97-AF65-F5344CB8AC3E}">
        <p14:creationId xmlns:p14="http://schemas.microsoft.com/office/powerpoint/2010/main" val="986896607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elected region</a:t>
            </a:r>
          </a:p>
        </p:txBody>
      </p:sp>
    </p:spTree>
    <p:extLst>
      <p:ext uri="{BB962C8B-B14F-4D97-AF65-F5344CB8AC3E}">
        <p14:creationId xmlns:p14="http://schemas.microsoft.com/office/powerpoint/2010/main" val="820256945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">
            <a:extLst>
              <a:ext uri="{FF2B5EF4-FFF2-40B4-BE49-F238E27FC236}">
                <a16:creationId xmlns:a16="http://schemas.microsoft.com/office/drawing/2014/main" id="{E062F186-99F1-354B-9ADD-183088E67A9D}"/>
              </a:ext>
            </a:extLst>
          </p:cNvPr>
          <p:cNvSpPr txBox="1">
            <a:spLocks/>
          </p:cNvSpPr>
          <p:nvPr/>
        </p:nvSpPr>
        <p:spPr>
          <a:xfrm>
            <a:off x="-31750" y="215371"/>
            <a:ext cx="2965450" cy="11747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57175" defTabSz="609585">
              <a:spcBef>
                <a:spcPts val="400"/>
              </a:spcBef>
              <a:spcAft>
                <a:spcPts val="400"/>
              </a:spcAft>
            </a:pPr>
            <a:r>
              <a:rPr lang="en-US" sz="1600" b="1" kern="1200" baseline="0" err="1">
                <a:latin typeface="+mj-lt"/>
                <a:ea typeface="+mj-ea"/>
                <a:cs typeface="+mj-cs"/>
              </a:rPr>
              <a:t>Branaplam</a:t>
            </a:r>
            <a:r>
              <a:rPr lang="en-US" sz="1600" b="1" kern="1200" baseline="0">
                <a:latin typeface="+mj-lt"/>
                <a:ea typeface="+mj-ea"/>
                <a:cs typeface="+mj-cs"/>
              </a:rPr>
              <a:t> and PTC518 benchmark RNA-seq data analysis</a:t>
            </a:r>
            <a:endParaRPr lang="en-US" sz="1600" b="1" i="1" kern="1200" baseline="0">
              <a:latin typeface="+mj-lt"/>
              <a:ea typeface="+mj-ea"/>
              <a:cs typeface="+mj-cs"/>
            </a:endParaRPr>
          </a:p>
        </p:txBody>
      </p:sp>
      <p:pic>
        <p:nvPicPr>
          <p:cNvPr id="4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59D70907-5838-5A5F-155A-78A63E164D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43581" y="527050"/>
            <a:ext cx="1718738" cy="4114800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2757031E-9397-42DB-A07E-415B494230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1581" y="393700"/>
            <a:ext cx="1911388" cy="4806950"/>
          </a:xfrm>
          <a:prstGeom prst="rect">
            <a:avLst/>
          </a:prstGeom>
        </p:spPr>
      </p:pic>
      <p:pic>
        <p:nvPicPr>
          <p:cNvPr id="6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90D332CF-143D-996C-5B0A-83E7360D79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4958" y="-6350"/>
            <a:ext cx="2301185" cy="6864350"/>
          </a:xfrm>
          <a:prstGeom prst="rect">
            <a:avLst/>
          </a:prstGeom>
        </p:spPr>
      </p:pic>
      <p:pic>
        <p:nvPicPr>
          <p:cNvPr id="7" name="Picture 7" descr="A picture containing text, window blind&#10;&#10;Description automatically generated">
            <a:extLst>
              <a:ext uri="{FF2B5EF4-FFF2-40B4-BE49-F238E27FC236}">
                <a16:creationId xmlns:a16="http://schemas.microsoft.com/office/drawing/2014/main" id="{FD0199B9-CE79-04E0-3D73-AA062B9FD1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42514" y="82550"/>
            <a:ext cx="2204871" cy="641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57824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nn Diagram</a:t>
            </a:r>
          </a:p>
        </p:txBody>
      </p:sp>
      <p:pic>
        <p:nvPicPr>
          <p:cNvPr id="4" name="Picture 3" descr="Diagram, venn diagram&#10;&#10;Description automatically generated">
            <a:extLst>
              <a:ext uri="{FF2B5EF4-FFF2-40B4-BE49-F238E27FC236}">
                <a16:creationId xmlns:a16="http://schemas.microsoft.com/office/drawing/2014/main" id="{7FB1F360-7E99-2504-319E-92F4EA7631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685800"/>
            <a:ext cx="54864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8443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135644 in iPSC and NGN2</a:t>
            </a:r>
          </a:p>
        </p:txBody>
      </p:sp>
      <p:pic>
        <p:nvPicPr>
          <p:cNvPr id="4" name="Picture 3" descr="A picture containing timeline&#10;&#10;Description automatically generated">
            <a:extLst>
              <a:ext uri="{FF2B5EF4-FFF2-40B4-BE49-F238E27FC236}">
                <a16:creationId xmlns:a16="http://schemas.microsoft.com/office/drawing/2014/main" id="{002C6CC4-AFE6-9042-9B96-06FBD8745E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7732" y="1535255"/>
            <a:ext cx="3052689" cy="4484712"/>
          </a:xfrm>
          <a:prstGeom prst="rect">
            <a:avLst/>
          </a:prstGeom>
        </p:spPr>
      </p:pic>
      <p:pic>
        <p:nvPicPr>
          <p:cNvPr id="6" name="Picture 5" descr="A picture containing chart&#10;&#10;Description automatically generated">
            <a:extLst>
              <a:ext uri="{FF2B5EF4-FFF2-40B4-BE49-F238E27FC236}">
                <a16:creationId xmlns:a16="http://schemas.microsoft.com/office/drawing/2014/main" id="{F90F52D6-FCC3-974B-9550-FE8C71DE23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320" y="1647796"/>
            <a:ext cx="2902340" cy="4548045"/>
          </a:xfrm>
          <a:prstGeom prst="rect">
            <a:avLst/>
          </a:prstGeom>
        </p:spPr>
      </p:pic>
      <p:pic>
        <p:nvPicPr>
          <p:cNvPr id="8" name="Picture 7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7BE8077B-21E3-0040-9C0E-355331C78A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1225" y="990600"/>
            <a:ext cx="3334977" cy="5092700"/>
          </a:xfrm>
          <a:prstGeom prst="rect">
            <a:avLst/>
          </a:prstGeom>
        </p:spPr>
      </p:pic>
      <p:pic>
        <p:nvPicPr>
          <p:cNvPr id="10" name="Picture 9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8BCB27EF-6454-9F4D-A6CB-6FE6155194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18" y="850900"/>
            <a:ext cx="2935165" cy="523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172994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136770 (1000nM) in iPSC(Left) and NGN2(Right)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529A53A-02F1-364A-A328-5483328184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92" y="1156293"/>
            <a:ext cx="5600355" cy="448028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661F2D7-378E-B441-96FE-748F942688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298" y="1156292"/>
            <a:ext cx="5600355" cy="4480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G and </a:t>
            </a:r>
            <a:r>
              <a:rPr lang="en-US" dirty="0" err="1"/>
              <a:t>dPSI</a:t>
            </a:r>
            <a:r>
              <a:rPr lang="en-US" dirty="0"/>
              <a:t> in </a:t>
            </a:r>
            <a:r>
              <a:rPr lang="en-US" dirty="0" err="1"/>
              <a:t>eoi</a:t>
            </a:r>
            <a:endParaRPr lang="en-US" dirty="0"/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0751F1D0-D7CB-F344-85A4-6392271F6F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76" y="1124043"/>
            <a:ext cx="4974071" cy="4705926"/>
          </a:xfrm>
          <a:prstGeom prst="rect">
            <a:avLst/>
          </a:prstGeom>
        </p:spPr>
      </p:pic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CAA442A7-89C1-D9A1-401D-1E968D3573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1349" y="1051560"/>
            <a:ext cx="4745959" cy="47548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1912F37-7DFF-E9BE-1740-42F0E08611F8}"/>
              </a:ext>
            </a:extLst>
          </p:cNvPr>
          <p:cNvSpPr txBox="1"/>
          <p:nvPr/>
        </p:nvSpPr>
        <p:spPr>
          <a:xfrm>
            <a:off x="2555860" y="704334"/>
            <a:ext cx="222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1A3DFF"/>
                </a:solidFill>
              </a:rPr>
              <a:t>dPSI</a:t>
            </a:r>
            <a:r>
              <a:rPr lang="en-US" dirty="0">
                <a:solidFill>
                  <a:srgbClr val="1A3DFF"/>
                </a:solidFill>
              </a:rPr>
              <a:t> from leafcutt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E33325-CB8D-0382-21C2-673626EE7F4B}"/>
              </a:ext>
            </a:extLst>
          </p:cNvPr>
          <p:cNvSpPr txBox="1"/>
          <p:nvPr/>
        </p:nvSpPr>
        <p:spPr>
          <a:xfrm>
            <a:off x="7412456" y="637190"/>
            <a:ext cx="36728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1A3DFF"/>
                </a:solidFill>
              </a:rPr>
              <a:t>Intron_retension_rate</a:t>
            </a:r>
            <a:r>
              <a:rPr lang="en-US" dirty="0">
                <a:solidFill>
                  <a:srgbClr val="1A3DFF"/>
                </a:solidFill>
              </a:rPr>
              <a:t> (from </a:t>
            </a:r>
            <a:r>
              <a:rPr lang="en-US" dirty="0" err="1">
                <a:solidFill>
                  <a:srgbClr val="1A3DFF"/>
                </a:solidFill>
              </a:rPr>
              <a:t>majiq</a:t>
            </a:r>
            <a:r>
              <a:rPr lang="en-US" dirty="0">
                <a:solidFill>
                  <a:srgbClr val="1A3DFF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82650244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PSI_of_eoi</a:t>
            </a:r>
            <a:endParaRPr lang="en-US" dirty="0"/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BAC36AFB-325A-BC4C-A5B0-8E96A96320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6" y="1186375"/>
            <a:ext cx="3810000" cy="3810000"/>
          </a:xfrm>
          <a:prstGeom prst="rect">
            <a:avLst/>
          </a:prstGeom>
        </p:spPr>
      </p:pic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5A98A883-8CBF-1C4B-B19C-BAB35A2ADF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5744" y="1186375"/>
            <a:ext cx="3810000" cy="3810000"/>
          </a:xfrm>
          <a:prstGeom prst="rect">
            <a:avLst/>
          </a:prstGeom>
        </p:spPr>
      </p:pic>
      <p:pic>
        <p:nvPicPr>
          <p:cNvPr id="8" name="Picture 7" descr="Chart&#10;&#10;Description automatically generated">
            <a:extLst>
              <a:ext uri="{FF2B5EF4-FFF2-40B4-BE49-F238E27FC236}">
                <a16:creationId xmlns:a16="http://schemas.microsoft.com/office/drawing/2014/main" id="{399A32B1-C30E-FF4A-B5B6-43C8D792F1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5744" y="1186375"/>
            <a:ext cx="3810000" cy="381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32EA137-B16F-DA49-BFA9-EFB9BA868CAC}"/>
              </a:ext>
            </a:extLst>
          </p:cNvPr>
          <p:cNvSpPr txBox="1"/>
          <p:nvPr/>
        </p:nvSpPr>
        <p:spPr>
          <a:xfrm>
            <a:off x="1336853" y="5487518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eafcutter-defaul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B83FEA-3984-9A4C-8FD2-A591AE80356E}"/>
              </a:ext>
            </a:extLst>
          </p:cNvPr>
          <p:cNvSpPr txBox="1"/>
          <p:nvPr/>
        </p:nvSpPr>
        <p:spPr>
          <a:xfrm>
            <a:off x="4322348" y="5486959"/>
            <a:ext cx="3788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eafcutter-with-all-toxic-exon-form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835171-BDE7-1949-A3FC-CAA8F70311BF}"/>
              </a:ext>
            </a:extLst>
          </p:cNvPr>
          <p:cNvSpPr txBox="1"/>
          <p:nvPr/>
        </p:nvSpPr>
        <p:spPr>
          <a:xfrm>
            <a:off x="8423030" y="5486959"/>
            <a:ext cx="3313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ajiq</a:t>
            </a:r>
            <a:r>
              <a:rPr lang="en-US" dirty="0"/>
              <a:t>-with-all-toxic-exon-for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76423B-0369-B704-EB50-ED6059164EC9}"/>
              </a:ext>
            </a:extLst>
          </p:cNvPr>
          <p:cNvSpPr txBox="1"/>
          <p:nvPr/>
        </p:nvSpPr>
        <p:spPr>
          <a:xfrm>
            <a:off x="1877865" y="816484"/>
            <a:ext cx="684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1A3DFF"/>
                </a:solidFill>
              </a:rPr>
              <a:t>dPSI</a:t>
            </a:r>
            <a:endParaRPr lang="en-US" dirty="0">
              <a:solidFill>
                <a:srgbClr val="1A3D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67115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ST11872 Study desig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12CFE9-9426-3A49-9A58-42EAE1DA7D29}"/>
              </a:ext>
            </a:extLst>
          </p:cNvPr>
          <p:cNvSpPr txBox="1"/>
          <p:nvPr/>
        </p:nvSpPr>
        <p:spPr>
          <a:xfrm>
            <a:off x="5049430" y="812800"/>
            <a:ext cx="2146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ew data (4/02/22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5E7962-D91A-D040-BD08-FB4363E8D010}"/>
              </a:ext>
            </a:extLst>
          </p:cNvPr>
          <p:cNvSpPr txBox="1"/>
          <p:nvPr/>
        </p:nvSpPr>
        <p:spPr>
          <a:xfrm>
            <a:off x="297886" y="4352429"/>
            <a:ext cx="252665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i="1" dirty="0"/>
              <a:t>Strategies for comparison:</a:t>
            </a:r>
          </a:p>
          <a:p>
            <a:endParaRPr lang="en-US" sz="1000" b="1" i="1" dirty="0"/>
          </a:p>
          <a:p>
            <a:r>
              <a:rPr lang="en-US" sz="1000" b="1" dirty="0"/>
              <a:t>Comp1:  NGN2 ~4x</a:t>
            </a:r>
          </a:p>
          <a:p>
            <a:r>
              <a:rPr lang="en-US" sz="1000" dirty="0"/>
              <a:t>BIO-1755497 (Bran) NGN2, Low (4x)</a:t>
            </a:r>
          </a:p>
          <a:p>
            <a:r>
              <a:rPr lang="en-US" sz="1000" dirty="0"/>
              <a:t>BIO-2006152 (PTC-518) NGN2, Low (5x)</a:t>
            </a:r>
          </a:p>
          <a:p>
            <a:r>
              <a:rPr lang="en-US" sz="1000" dirty="0"/>
              <a:t>BIO-2059811 (PTC) NGN2, Low (4x)</a:t>
            </a:r>
          </a:p>
          <a:p>
            <a:r>
              <a:rPr lang="en-US" sz="1000" dirty="0"/>
              <a:t>BIO-2135644 (PTC) NGN2, Low (4.4x)</a:t>
            </a:r>
          </a:p>
          <a:p>
            <a:endParaRPr lang="en-US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099D71-7C97-1645-82B9-4CAEEAC375DA}"/>
              </a:ext>
            </a:extLst>
          </p:cNvPr>
          <p:cNvSpPr txBox="1"/>
          <p:nvPr/>
        </p:nvSpPr>
        <p:spPr>
          <a:xfrm>
            <a:off x="2905125" y="4655584"/>
            <a:ext cx="2731838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/>
              <a:t>Comp2:  NGN2 ~9-16x</a:t>
            </a:r>
          </a:p>
          <a:p>
            <a:r>
              <a:rPr lang="en-US" sz="1000" dirty="0"/>
              <a:t>BIO-1755497 (Bran) NGN2, High (13x)</a:t>
            </a:r>
          </a:p>
          <a:p>
            <a:r>
              <a:rPr lang="en-US" sz="1000" dirty="0"/>
              <a:t>BIO-2006152 (PTC-518) NGN2, High (16.5x)</a:t>
            </a:r>
          </a:p>
          <a:p>
            <a:r>
              <a:rPr lang="en-US" sz="1000" dirty="0"/>
              <a:t>BIO-2059811 (PTC) NGN2, High (13.3x)</a:t>
            </a:r>
          </a:p>
          <a:p>
            <a:r>
              <a:rPr lang="en-US" sz="1000" dirty="0"/>
              <a:t>BIO-2135644 (PTC) NGN2, High (14.5x)</a:t>
            </a:r>
          </a:p>
          <a:p>
            <a:r>
              <a:rPr lang="en-US" sz="1000" dirty="0"/>
              <a:t>BIO-2136770 (PTC) NGN2, Low (12x)</a:t>
            </a:r>
          </a:p>
          <a:p>
            <a:r>
              <a:rPr lang="en-US" sz="1000" dirty="0"/>
              <a:t>BIO-1949634 (</a:t>
            </a:r>
            <a:r>
              <a:rPr lang="en-US" sz="1000" dirty="0" err="1"/>
              <a:t>Ris</a:t>
            </a:r>
            <a:r>
              <a:rPr lang="en-US" sz="1000" dirty="0"/>
              <a:t>) NGN2, Low (9x)</a:t>
            </a:r>
          </a:p>
          <a:p>
            <a:r>
              <a:rPr lang="en-US" sz="1000" dirty="0"/>
              <a:t>BIO-2060573 (Internal) NGN2, Low (11x)</a:t>
            </a:r>
          </a:p>
          <a:p>
            <a:r>
              <a:rPr lang="en-US" sz="1000" dirty="0"/>
              <a:t>BIO-2070692 (Remix) NGN2, Low (16x)</a:t>
            </a:r>
          </a:p>
          <a:p>
            <a:endParaRPr lang="en-US" sz="1000" dirty="0"/>
          </a:p>
          <a:p>
            <a:endParaRPr lang="en-US" sz="1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9C6060-EC3C-634E-B12E-66CD1E1F9242}"/>
              </a:ext>
            </a:extLst>
          </p:cNvPr>
          <p:cNvSpPr txBox="1"/>
          <p:nvPr/>
        </p:nvSpPr>
        <p:spPr>
          <a:xfrm>
            <a:off x="5940860" y="4655584"/>
            <a:ext cx="2561920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/>
              <a:t>Comp3:  iPSC ~7-10x</a:t>
            </a:r>
          </a:p>
          <a:p>
            <a:r>
              <a:rPr lang="en-US" sz="1000" dirty="0"/>
              <a:t>BIO-2006152 (PTC-518) iPSC, High (10x)</a:t>
            </a:r>
          </a:p>
          <a:p>
            <a:r>
              <a:rPr lang="en-US" sz="1000" dirty="0"/>
              <a:t>BIO-2059811 (PTC) iPSC, High (8.5x)</a:t>
            </a:r>
          </a:p>
          <a:p>
            <a:r>
              <a:rPr lang="en-US" sz="1000" dirty="0"/>
              <a:t>BIO-2135644 (PTC) iPSC, High (12.2x) </a:t>
            </a:r>
          </a:p>
          <a:p>
            <a:r>
              <a:rPr lang="en-US" sz="1000" dirty="0"/>
              <a:t>BIO-2136770 (PTC) iPSC, Low (7x)</a:t>
            </a:r>
          </a:p>
          <a:p>
            <a:r>
              <a:rPr lang="en-US" sz="1000" dirty="0"/>
              <a:t>BIO-1949634 (</a:t>
            </a:r>
            <a:r>
              <a:rPr lang="en-US" sz="1000" dirty="0" err="1"/>
              <a:t>Ris</a:t>
            </a:r>
            <a:r>
              <a:rPr lang="en-US" sz="1000" dirty="0"/>
              <a:t>) iPSC, Low (9x)</a:t>
            </a:r>
          </a:p>
          <a:p>
            <a:r>
              <a:rPr lang="en-US" sz="1000" dirty="0"/>
              <a:t>BIO-2060573 (Internal) iPSC, Low (10x)</a:t>
            </a:r>
          </a:p>
          <a:p>
            <a:r>
              <a:rPr lang="en-US" sz="1000" dirty="0"/>
              <a:t>BIO-2070692 (Remix) iPSC, Low (12x)</a:t>
            </a:r>
          </a:p>
          <a:p>
            <a:endParaRPr lang="en-US" sz="1000" dirty="0"/>
          </a:p>
          <a:p>
            <a:endParaRPr lang="en-US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DA5FB4-EA6F-BB40-A622-DFE9C10FF23A}"/>
              </a:ext>
            </a:extLst>
          </p:cNvPr>
          <p:cNvSpPr txBox="1"/>
          <p:nvPr/>
        </p:nvSpPr>
        <p:spPr>
          <a:xfrm>
            <a:off x="11047353" y="4225347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therin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86B413E-F051-8C44-8B34-6FABFE81D983}"/>
              </a:ext>
            </a:extLst>
          </p:cNvPr>
          <p:cNvGraphicFramePr>
            <a:graphicFrameLocks noGrp="1"/>
          </p:cNvGraphicFramePr>
          <p:nvPr/>
        </p:nvGraphicFramePr>
        <p:xfrm>
          <a:off x="384957" y="1264971"/>
          <a:ext cx="11423650" cy="2976247"/>
        </p:xfrm>
        <a:graphic>
          <a:graphicData uri="http://schemas.openxmlformats.org/drawingml/2006/table">
            <a:tbl>
              <a:tblPr/>
              <a:tblGrid>
                <a:gridCol w="1082493">
                  <a:extLst>
                    <a:ext uri="{9D8B030D-6E8A-4147-A177-3AD203B41FA5}">
                      <a16:colId xmlns:a16="http://schemas.microsoft.com/office/drawing/2014/main" val="49523382"/>
                    </a:ext>
                  </a:extLst>
                </a:gridCol>
                <a:gridCol w="954199">
                  <a:extLst>
                    <a:ext uri="{9D8B030D-6E8A-4147-A177-3AD203B41FA5}">
                      <a16:colId xmlns:a16="http://schemas.microsoft.com/office/drawing/2014/main" val="1294886168"/>
                    </a:ext>
                  </a:extLst>
                </a:gridCol>
                <a:gridCol w="930143">
                  <a:extLst>
                    <a:ext uri="{9D8B030D-6E8A-4147-A177-3AD203B41FA5}">
                      <a16:colId xmlns:a16="http://schemas.microsoft.com/office/drawing/2014/main" val="3779267143"/>
                    </a:ext>
                  </a:extLst>
                </a:gridCol>
                <a:gridCol w="1050420">
                  <a:extLst>
                    <a:ext uri="{9D8B030D-6E8A-4147-A177-3AD203B41FA5}">
                      <a16:colId xmlns:a16="http://schemas.microsoft.com/office/drawing/2014/main" val="4202463101"/>
                    </a:ext>
                  </a:extLst>
                </a:gridCol>
                <a:gridCol w="1050420">
                  <a:extLst>
                    <a:ext uri="{9D8B030D-6E8A-4147-A177-3AD203B41FA5}">
                      <a16:colId xmlns:a16="http://schemas.microsoft.com/office/drawing/2014/main" val="1860745650"/>
                    </a:ext>
                  </a:extLst>
                </a:gridCol>
                <a:gridCol w="705626">
                  <a:extLst>
                    <a:ext uri="{9D8B030D-6E8A-4147-A177-3AD203B41FA5}">
                      <a16:colId xmlns:a16="http://schemas.microsoft.com/office/drawing/2014/main" val="212285873"/>
                    </a:ext>
                  </a:extLst>
                </a:gridCol>
                <a:gridCol w="857976">
                  <a:extLst>
                    <a:ext uri="{9D8B030D-6E8A-4147-A177-3AD203B41FA5}">
                      <a16:colId xmlns:a16="http://schemas.microsoft.com/office/drawing/2014/main" val="824066335"/>
                    </a:ext>
                  </a:extLst>
                </a:gridCol>
                <a:gridCol w="793829">
                  <a:extLst>
                    <a:ext uri="{9D8B030D-6E8A-4147-A177-3AD203B41FA5}">
                      <a16:colId xmlns:a16="http://schemas.microsoft.com/office/drawing/2014/main" val="322337088"/>
                    </a:ext>
                  </a:extLst>
                </a:gridCol>
                <a:gridCol w="705626">
                  <a:extLst>
                    <a:ext uri="{9D8B030D-6E8A-4147-A177-3AD203B41FA5}">
                      <a16:colId xmlns:a16="http://schemas.microsoft.com/office/drawing/2014/main" val="2275777116"/>
                    </a:ext>
                  </a:extLst>
                </a:gridCol>
                <a:gridCol w="823229">
                  <a:extLst>
                    <a:ext uri="{9D8B030D-6E8A-4147-A177-3AD203B41FA5}">
                      <a16:colId xmlns:a16="http://schemas.microsoft.com/office/drawing/2014/main" val="725424433"/>
                    </a:ext>
                  </a:extLst>
                </a:gridCol>
                <a:gridCol w="801847">
                  <a:extLst>
                    <a:ext uri="{9D8B030D-6E8A-4147-A177-3AD203B41FA5}">
                      <a16:colId xmlns:a16="http://schemas.microsoft.com/office/drawing/2014/main" val="1130269313"/>
                    </a:ext>
                  </a:extLst>
                </a:gridCol>
                <a:gridCol w="1667842">
                  <a:extLst>
                    <a:ext uri="{9D8B030D-6E8A-4147-A177-3AD203B41FA5}">
                      <a16:colId xmlns:a16="http://schemas.microsoft.com/office/drawing/2014/main" val="836204087"/>
                    </a:ext>
                  </a:extLst>
                </a:gridCol>
              </a:tblGrid>
              <a:tr h="50860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639981"/>
                  </a:ext>
                </a:extLst>
              </a:tr>
              <a:tr h="2005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3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374281"/>
                  </a:ext>
                </a:extLst>
              </a:tr>
              <a:tr h="2005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8022" marR="8022" marT="8022" marB="3850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26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.1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6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9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52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48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~PTC-518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536565"/>
                  </a:ext>
                </a:extLst>
              </a:tr>
              <a:tr h="35458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4155932"/>
                  </a:ext>
                </a:extLst>
              </a:tr>
              <a:tr h="35458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8022" marR="8022" marT="8022" marB="3850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87306"/>
                  </a:ext>
                </a:extLst>
              </a:tr>
              <a:tr h="35458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1295"/>
                  </a:ext>
                </a:extLst>
              </a:tr>
              <a:tr h="2005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8022" marR="8022" marT="8022" marB="3850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4.6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.2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.81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195357"/>
                  </a:ext>
                </a:extLst>
              </a:tr>
              <a:tr h="2005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549468"/>
                  </a:ext>
                </a:extLst>
              </a:tr>
              <a:tr h="2005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8022" marR="8022" marT="8022" marB="3850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062678"/>
                  </a:ext>
                </a:extLst>
              </a:tr>
              <a:tr h="2005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7.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7.5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8.37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618817"/>
                  </a:ext>
                </a:extLst>
              </a:tr>
              <a:tr h="2005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022" marR="8022" marT="8022" marB="3850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>
                        <a:solidFill>
                          <a:srgbClr val="363838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>
                        <a:solidFill>
                          <a:srgbClr val="363838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>
                        <a:solidFill>
                          <a:srgbClr val="363838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rgbClr val="363838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022" marR="8022" marT="8022" marB="3850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021649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DA23342B-9B27-7142-B65E-0937FA83CFD4}"/>
              </a:ext>
            </a:extLst>
          </p:cNvPr>
          <p:cNvSpPr txBox="1"/>
          <p:nvPr/>
        </p:nvSpPr>
        <p:spPr>
          <a:xfrm>
            <a:off x="8847455" y="4617189"/>
            <a:ext cx="2462534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/>
              <a:t>Comp4:  iPSC ~2-4x</a:t>
            </a:r>
          </a:p>
          <a:p>
            <a:r>
              <a:rPr lang="en-US" sz="1000" b="1" dirty="0"/>
              <a:t>BIO-1755497 (Bran) iPSC, High (4x)</a:t>
            </a:r>
          </a:p>
          <a:p>
            <a:r>
              <a:rPr lang="en-US" sz="1000" dirty="0"/>
              <a:t>BIO-2006152 (PTC-518) iPSC, Low (3x)</a:t>
            </a:r>
          </a:p>
          <a:p>
            <a:r>
              <a:rPr lang="en-US" sz="1000" dirty="0"/>
              <a:t>BIO-2059811 (PTC) iPSC, Low (2.6x)</a:t>
            </a:r>
          </a:p>
          <a:p>
            <a:r>
              <a:rPr lang="en-US" sz="1000" dirty="0"/>
              <a:t>BIO-2135644 (PTC) iPSC, Low (4x)</a:t>
            </a:r>
          </a:p>
          <a:p>
            <a:endParaRPr lang="en-US" sz="1000" dirty="0"/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55993488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755497 in NGN2</a:t>
            </a:r>
          </a:p>
        </p:txBody>
      </p:sp>
      <p:pic>
        <p:nvPicPr>
          <p:cNvPr id="4" name="Picture 3" descr="Timeline&#10;&#10;Description automatically generated with medium confidence">
            <a:extLst>
              <a:ext uri="{FF2B5EF4-FFF2-40B4-BE49-F238E27FC236}">
                <a16:creationId xmlns:a16="http://schemas.microsoft.com/office/drawing/2014/main" id="{1605DD3B-612C-CF4A-8D07-A8794F476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600" y="1438138"/>
            <a:ext cx="4198981" cy="4521884"/>
          </a:xfrm>
          <a:prstGeom prst="rect">
            <a:avLst/>
          </a:prstGeom>
        </p:spPr>
      </p:pic>
      <p:pic>
        <p:nvPicPr>
          <p:cNvPr id="6" name="Picture 5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D4C080FB-B010-0248-9CEA-5A0380DF9D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6" y="971550"/>
            <a:ext cx="4569609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32817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otif analysis of selected reg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72593B-6674-EE4D-A5F2-9A7C62510EDA}"/>
              </a:ext>
            </a:extLst>
          </p:cNvPr>
          <p:cNvSpPr/>
          <p:nvPr/>
        </p:nvSpPr>
        <p:spPr>
          <a:xfrm>
            <a:off x="7944374" y="2543261"/>
            <a:ext cx="1728132" cy="260059"/>
          </a:xfrm>
          <a:prstGeom prst="rect">
            <a:avLst/>
          </a:prstGeom>
          <a:noFill/>
          <a:ln w="3810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FD532B-51B9-764A-A90D-6BDD17209F94}"/>
              </a:ext>
            </a:extLst>
          </p:cNvPr>
          <p:cNvSpPr/>
          <p:nvPr/>
        </p:nvSpPr>
        <p:spPr>
          <a:xfrm>
            <a:off x="4496499" y="2543261"/>
            <a:ext cx="1352025" cy="260059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FFC12F-1D0A-9841-81A9-128FE378F064}"/>
              </a:ext>
            </a:extLst>
          </p:cNvPr>
          <p:cNvSpPr/>
          <p:nvPr/>
        </p:nvSpPr>
        <p:spPr>
          <a:xfrm>
            <a:off x="791362" y="2543261"/>
            <a:ext cx="1728132" cy="260059"/>
          </a:xfrm>
          <a:prstGeom prst="rect">
            <a:avLst/>
          </a:prstGeom>
          <a:noFill/>
          <a:ln w="3810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11A701-1939-094F-B3D1-782DD0D747FF}"/>
              </a:ext>
            </a:extLst>
          </p:cNvPr>
          <p:cNvCxnSpPr>
            <a:stCxn id="5" idx="3"/>
            <a:endCxn id="4" idx="1"/>
          </p:cNvCxnSpPr>
          <p:nvPr/>
        </p:nvCxnSpPr>
        <p:spPr>
          <a:xfrm>
            <a:off x="2519494" y="2673291"/>
            <a:ext cx="1977005" cy="0"/>
          </a:xfrm>
          <a:prstGeom prst="line">
            <a:avLst/>
          </a:prstGeom>
          <a:ln w="38100">
            <a:solidFill>
              <a:srgbClr val="1A3DF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2526533-CE13-8346-A4EC-E42958741EF5}"/>
              </a:ext>
            </a:extLst>
          </p:cNvPr>
          <p:cNvCxnSpPr>
            <a:cxnSpLocks/>
            <a:endCxn id="3" idx="1"/>
          </p:cNvCxnSpPr>
          <p:nvPr/>
        </p:nvCxnSpPr>
        <p:spPr>
          <a:xfrm>
            <a:off x="5848524" y="2673290"/>
            <a:ext cx="2095850" cy="1"/>
          </a:xfrm>
          <a:prstGeom prst="line">
            <a:avLst/>
          </a:prstGeom>
          <a:ln w="38100">
            <a:solidFill>
              <a:srgbClr val="1A3DF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Left Brace 10">
            <a:extLst>
              <a:ext uri="{FF2B5EF4-FFF2-40B4-BE49-F238E27FC236}">
                <a16:creationId xmlns:a16="http://schemas.microsoft.com/office/drawing/2014/main" id="{C366A9AA-DF32-EA40-941B-143913263BB7}"/>
              </a:ext>
            </a:extLst>
          </p:cNvPr>
          <p:cNvSpPr/>
          <p:nvPr/>
        </p:nvSpPr>
        <p:spPr>
          <a:xfrm rot="5400000">
            <a:off x="2013357" y="1728709"/>
            <a:ext cx="369116" cy="520117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C0077A72-EAA0-E240-9184-F4D53F65C727}"/>
              </a:ext>
            </a:extLst>
          </p:cNvPr>
          <p:cNvSpPr/>
          <p:nvPr/>
        </p:nvSpPr>
        <p:spPr>
          <a:xfrm rot="5400000">
            <a:off x="1740715" y="1063886"/>
            <a:ext cx="369116" cy="1065402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0EAD5A9-B144-8D4A-BE20-8A04001D042E}"/>
              </a:ext>
            </a:extLst>
          </p:cNvPr>
          <p:cNvSpPr/>
          <p:nvPr/>
        </p:nvSpPr>
        <p:spPr>
          <a:xfrm rot="5400000">
            <a:off x="8286925" y="1072970"/>
            <a:ext cx="369116" cy="1065402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F7026910-1242-4D46-BF89-CA375E32C7B1}"/>
              </a:ext>
            </a:extLst>
          </p:cNvPr>
          <p:cNvSpPr/>
          <p:nvPr/>
        </p:nvSpPr>
        <p:spPr>
          <a:xfrm rot="5400000">
            <a:off x="2160165" y="2180437"/>
            <a:ext cx="369116" cy="226502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D2891D55-96CA-7C49-B9D5-FA9BBD48E016}"/>
              </a:ext>
            </a:extLst>
          </p:cNvPr>
          <p:cNvSpPr/>
          <p:nvPr/>
        </p:nvSpPr>
        <p:spPr>
          <a:xfrm rot="5400000">
            <a:off x="5634608" y="1807826"/>
            <a:ext cx="369116" cy="520117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Left Brace 16">
            <a:extLst>
              <a:ext uri="{FF2B5EF4-FFF2-40B4-BE49-F238E27FC236}">
                <a16:creationId xmlns:a16="http://schemas.microsoft.com/office/drawing/2014/main" id="{4109C38E-2B2D-FC43-8DDA-F55869E40F5C}"/>
              </a:ext>
            </a:extLst>
          </p:cNvPr>
          <p:cNvSpPr/>
          <p:nvPr/>
        </p:nvSpPr>
        <p:spPr>
          <a:xfrm rot="5400000">
            <a:off x="5634608" y="1132393"/>
            <a:ext cx="369116" cy="1065402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69B11EA7-161D-F140-82C0-5BADDFCAE8EC}"/>
              </a:ext>
            </a:extLst>
          </p:cNvPr>
          <p:cNvSpPr/>
          <p:nvPr/>
        </p:nvSpPr>
        <p:spPr>
          <a:xfrm rot="5400000">
            <a:off x="5634609" y="2257336"/>
            <a:ext cx="369116" cy="226502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Left Brace 18">
            <a:extLst>
              <a:ext uri="{FF2B5EF4-FFF2-40B4-BE49-F238E27FC236}">
                <a16:creationId xmlns:a16="http://schemas.microsoft.com/office/drawing/2014/main" id="{A4DC9312-E7BD-0949-91A6-26BB182AECF6}"/>
              </a:ext>
            </a:extLst>
          </p:cNvPr>
          <p:cNvSpPr/>
          <p:nvPr/>
        </p:nvSpPr>
        <p:spPr>
          <a:xfrm rot="16200000">
            <a:off x="4311941" y="3201098"/>
            <a:ext cx="369116" cy="520117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736C508E-FE79-764C-9BC5-17C58CD444EA}"/>
              </a:ext>
            </a:extLst>
          </p:cNvPr>
          <p:cNvSpPr/>
          <p:nvPr/>
        </p:nvSpPr>
        <p:spPr>
          <a:xfrm rot="16200000">
            <a:off x="4311941" y="3521980"/>
            <a:ext cx="369116" cy="1065402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A6666A4F-00EC-B943-BC3A-4B71039B16AC}"/>
              </a:ext>
            </a:extLst>
          </p:cNvPr>
          <p:cNvSpPr/>
          <p:nvPr/>
        </p:nvSpPr>
        <p:spPr>
          <a:xfrm rot="16200000">
            <a:off x="4311941" y="3036812"/>
            <a:ext cx="369116" cy="226502"/>
          </a:xfrm>
          <a:prstGeom prst="leftBrac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16FC400-0087-3D40-97DE-BFD41A092F3E}"/>
              </a:ext>
            </a:extLst>
          </p:cNvPr>
          <p:cNvCxnSpPr/>
          <p:nvPr/>
        </p:nvCxnSpPr>
        <p:spPr>
          <a:xfrm flipV="1">
            <a:off x="1392572" y="2965505"/>
            <a:ext cx="1065402" cy="1354825"/>
          </a:xfrm>
          <a:prstGeom prst="straightConnector1">
            <a:avLst/>
          </a:prstGeom>
          <a:ln w="28575">
            <a:solidFill>
              <a:schemeClr val="accent3">
                <a:lumMod val="75000"/>
                <a:lumOff val="25000"/>
              </a:schemeClr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FDE4173-C540-B54F-8795-3504D784FFBD}"/>
              </a:ext>
            </a:extLst>
          </p:cNvPr>
          <p:cNvCxnSpPr/>
          <p:nvPr/>
        </p:nvCxnSpPr>
        <p:spPr>
          <a:xfrm flipV="1">
            <a:off x="3401736" y="2897699"/>
            <a:ext cx="1065402" cy="1354825"/>
          </a:xfrm>
          <a:prstGeom prst="straightConnector1">
            <a:avLst/>
          </a:prstGeom>
          <a:ln w="28575">
            <a:solidFill>
              <a:schemeClr val="accent3">
                <a:lumMod val="75000"/>
                <a:lumOff val="25000"/>
              </a:schemeClr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4C49985-BD67-EE47-AFE8-F3C1E234C07F}"/>
              </a:ext>
            </a:extLst>
          </p:cNvPr>
          <p:cNvCxnSpPr/>
          <p:nvPr/>
        </p:nvCxnSpPr>
        <p:spPr>
          <a:xfrm flipV="1">
            <a:off x="6896449" y="2933349"/>
            <a:ext cx="1065402" cy="1354825"/>
          </a:xfrm>
          <a:prstGeom prst="straightConnector1">
            <a:avLst/>
          </a:prstGeom>
          <a:ln w="28575">
            <a:solidFill>
              <a:schemeClr val="accent3">
                <a:lumMod val="75000"/>
                <a:lumOff val="25000"/>
              </a:schemeClr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BD690FA-EFB7-6C4D-82B2-858AEC1547F5}"/>
              </a:ext>
            </a:extLst>
          </p:cNvPr>
          <p:cNvCxnSpPr/>
          <p:nvPr/>
        </p:nvCxnSpPr>
        <p:spPr>
          <a:xfrm flipV="1">
            <a:off x="4720207" y="2884414"/>
            <a:ext cx="1065402" cy="1354825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912072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elected region</a:t>
            </a:r>
          </a:p>
        </p:txBody>
      </p:sp>
    </p:spTree>
    <p:extLst>
      <p:ext uri="{BB962C8B-B14F-4D97-AF65-F5344CB8AC3E}">
        <p14:creationId xmlns:p14="http://schemas.microsoft.com/office/powerpoint/2010/main" val="381730543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elected region</a:t>
            </a:r>
          </a:p>
        </p:txBody>
      </p:sp>
    </p:spTree>
    <p:extLst>
      <p:ext uri="{BB962C8B-B14F-4D97-AF65-F5344CB8AC3E}">
        <p14:creationId xmlns:p14="http://schemas.microsoft.com/office/powerpoint/2010/main" val="191892525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arget reg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78975A-3ECE-344F-7785-AFBECBC855CB}"/>
              </a:ext>
            </a:extLst>
          </p:cNvPr>
          <p:cNvSpPr txBox="1"/>
          <p:nvPr/>
        </p:nvSpPr>
        <p:spPr>
          <a:xfrm>
            <a:off x="228600" y="1560444"/>
            <a:ext cx="114890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3B2322"/>
                </a:solidFill>
                <a:effectLst/>
                <a:latin typeface="Courier" panose="02070309020205020404" pitchFamily="49" charset="0"/>
              </a:rPr>
              <a:t>OneDrive-Biogen/Meetings/TST12086/plots/</a:t>
            </a:r>
            <a:r>
              <a:rPr lang="en-US" dirty="0" err="1">
                <a:solidFill>
                  <a:srgbClr val="3B2322"/>
                </a:solidFill>
                <a:effectLst/>
                <a:latin typeface="Courier" panose="02070309020205020404" pitchFamily="49" charset="0"/>
              </a:rPr>
              <a:t>Magnus_requested</a:t>
            </a:r>
            <a:r>
              <a:rPr lang="en-US" dirty="0">
                <a:solidFill>
                  <a:srgbClr val="3B2322"/>
                </a:solidFill>
                <a:effectLst/>
                <a:latin typeface="Courier" panose="02070309020205020404" pitchFamily="49" charset="0"/>
              </a:rPr>
              <a:t>/2023_04_24_Requested/HTT/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5900D4-373B-02B9-F168-05DEA28BB364}"/>
              </a:ext>
            </a:extLst>
          </p:cNvPr>
          <p:cNvSpPr txBox="1"/>
          <p:nvPr/>
        </p:nvSpPr>
        <p:spPr>
          <a:xfrm>
            <a:off x="383396" y="2828835"/>
            <a:ext cx="1117581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https://</a:t>
            </a:r>
            <a:r>
              <a:rPr lang="en-US" sz="1400" dirty="0" err="1"/>
              <a:t>biib-my.sharepoint.com</a:t>
            </a:r>
            <a:r>
              <a:rPr lang="en-US" sz="1400" dirty="0"/>
              <a:t>/:f:/g/personal/</a:t>
            </a:r>
            <a:r>
              <a:rPr lang="en-US" sz="1400" dirty="0" err="1"/>
              <a:t>zhen_gao_biogen_com</a:t>
            </a:r>
            <a:r>
              <a:rPr lang="en-US" sz="1400" dirty="0"/>
              <a:t>/Eu3PZgm1y8BJmQKbgz3RXt0B3ZRHyHrPhI-EtLCaKUmnLw</a:t>
            </a:r>
          </a:p>
        </p:txBody>
      </p:sp>
    </p:spTree>
    <p:extLst>
      <p:ext uri="{BB962C8B-B14F-4D97-AF65-F5344CB8AC3E}">
        <p14:creationId xmlns:p14="http://schemas.microsoft.com/office/powerpoint/2010/main" val="218238773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shimi-plots: 1</a:t>
            </a:r>
            <a:r>
              <a:rPr lang="en-US" baseline="30000" dirty="0"/>
              <a:t>st</a:t>
            </a:r>
            <a:r>
              <a:rPr lang="en-US" dirty="0"/>
              <a:t> 6152 and 9634</a:t>
            </a: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107A1D9C-9663-C3C2-52F7-C71967069E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022" y="972273"/>
            <a:ext cx="4631068" cy="4992547"/>
          </a:xfrm>
          <a:prstGeom prst="rect">
            <a:avLst/>
          </a:prstGeom>
        </p:spPr>
      </p:pic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67144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shimi-plots: 2</a:t>
            </a:r>
            <a:r>
              <a:rPr lang="en-US" baseline="30000" dirty="0"/>
              <a:t>nd</a:t>
            </a:r>
            <a:r>
              <a:rPr lang="en-US" dirty="0"/>
              <a:t> 6152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</p:spTree>
    <p:extLst>
      <p:ext uri="{BB962C8B-B14F-4D97-AF65-F5344CB8AC3E}">
        <p14:creationId xmlns:p14="http://schemas.microsoft.com/office/powerpoint/2010/main" val="210640890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136770 (1000nM) in iPSC(Left) and NGN2(Right)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529A53A-02F1-364A-A328-5483328184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92" y="1156293"/>
            <a:ext cx="5600355" cy="448028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661F2D7-378E-B441-96FE-748F942688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298" y="1156292"/>
            <a:ext cx="5600355" cy="4480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80476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 looks more than toxic exon spicing in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15BBD1-B915-794B-95E7-3204B6CA33F5}"/>
              </a:ext>
            </a:extLst>
          </p:cNvPr>
          <p:cNvGrpSpPr/>
          <p:nvPr/>
        </p:nvGrpSpPr>
        <p:grpSpPr>
          <a:xfrm>
            <a:off x="760475" y="1125400"/>
            <a:ext cx="5728309" cy="1039645"/>
            <a:chOff x="543575" y="1930801"/>
            <a:chExt cx="5728309" cy="103964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E0D6FF7-02D9-974A-A863-D17577A16839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39645"/>
              <a:chOff x="410011" y="829146"/>
              <a:chExt cx="5728309" cy="1039645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FCA0E3-D04E-A043-B86F-B37E636EF6A1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8265"/>
                <a:chOff x="418567" y="669336"/>
                <a:chExt cx="5728309" cy="948265"/>
              </a:xfrm>
            </p:grpSpPr>
            <p:cxnSp>
              <p:nvCxnSpPr>
                <p:cNvPr id="9" name="Straight Connector 8">
                  <a:extLst>
                    <a:ext uri="{FF2B5EF4-FFF2-40B4-BE49-F238E27FC236}">
                      <a16:creationId xmlns:a16="http://schemas.microsoft.com/office/drawing/2014/main" id="{12B54DBD-3ABC-3143-AECC-45636BA16B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C38C0C84-E0C4-8E4D-842D-27141606707F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23E5223B-7951-F648-AFE2-1F10E15FC0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C6DEABEF-1D2D-A546-8667-AE990BE82E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Left Arrow 12">
                  <a:extLst>
                    <a:ext uri="{FF2B5EF4-FFF2-40B4-BE49-F238E27FC236}">
                      <a16:creationId xmlns:a16="http://schemas.microsoft.com/office/drawing/2014/main" id="{F5E3BD8F-0EB8-8D4C-890E-C9CCB1E75511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ABE6D29F-D2DA-A74D-8EBF-61F7A6BD4E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FB6553A9-B3F7-FE4D-AA32-E278D16977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42696"/>
                  <a:ext cx="280804" cy="27221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3D9A4ECD-B92C-F148-ACE7-E4F3436E92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153D76D4-8732-BD40-AC4D-C64687D609F0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B7D389BA-906D-7145-9F27-7A5992A50604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E08B4BE2-95A4-0443-BE06-C1FC6D15D43F}"/>
                    </a:ext>
                  </a:extLst>
                </p:cNvPr>
                <p:cNvSpPr/>
                <p:nvPr/>
              </p:nvSpPr>
              <p:spPr>
                <a:xfrm>
                  <a:off x="2540219" y="98242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BE781E99-D1CA-2B4A-BFA7-595042B98798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D29E2889-2880-3C41-BF15-ADD6B0BA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855F31CA-CBFA-974F-A2C5-A913B3EA28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65730" y="1367029"/>
                  <a:ext cx="348516" cy="25057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2262EA3-7607-1148-93E9-F8803CD8D8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615507" y="1324620"/>
                  <a:ext cx="301525" cy="290286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285C4365-D371-B34D-9CED-B6F8D3CB32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FBC639CB-49EA-B94D-8E15-B867576768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" name="Hexagon 6">
                <a:extLst>
                  <a:ext uri="{FF2B5EF4-FFF2-40B4-BE49-F238E27FC236}">
                    <a16:creationId xmlns:a16="http://schemas.microsoft.com/office/drawing/2014/main" id="{D569EE21-3AB1-B44E-8EE0-16BF443CAC47}"/>
                  </a:ext>
                </a:extLst>
              </p:cNvPr>
              <p:cNvSpPr/>
              <p:nvPr/>
            </p:nvSpPr>
            <p:spPr>
              <a:xfrm>
                <a:off x="2926348" y="1672848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9288310C-9D8C-634F-AA54-89DF5DDD15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46659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Left Arrow 4">
              <a:extLst>
                <a:ext uri="{FF2B5EF4-FFF2-40B4-BE49-F238E27FC236}">
                  <a16:creationId xmlns:a16="http://schemas.microsoft.com/office/drawing/2014/main" id="{90CE92FD-B8B5-0145-8AC6-B1D17368BB2C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0F0D2E5-8AA5-2C40-B96F-5C6AD2186459}"/>
              </a:ext>
            </a:extLst>
          </p:cNvPr>
          <p:cNvGrpSpPr/>
          <p:nvPr/>
        </p:nvGrpSpPr>
        <p:grpSpPr>
          <a:xfrm>
            <a:off x="760475" y="2796633"/>
            <a:ext cx="5728309" cy="1039645"/>
            <a:chOff x="543575" y="1930801"/>
            <a:chExt cx="5728309" cy="103964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EF0230F-5BD3-014E-A107-093EE2853124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39645"/>
              <a:chOff x="410011" y="829146"/>
              <a:chExt cx="5728309" cy="1039645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8751A0EA-946D-6847-9F05-3422D4F7BA06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5570"/>
                <a:chOff x="418567" y="669336"/>
                <a:chExt cx="5728309" cy="945570"/>
              </a:xfrm>
            </p:grpSpPr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865A322E-96DB-FC48-834E-0A4C18E01B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6E5559B0-1542-F540-B5E5-54337E840880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77857F2D-64C3-2D48-9DB3-4B249669EA3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E537D27-AC70-B749-8FFA-2C849E2781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6" name="Left Arrow 35">
                  <a:extLst>
                    <a:ext uri="{FF2B5EF4-FFF2-40B4-BE49-F238E27FC236}">
                      <a16:creationId xmlns:a16="http://schemas.microsoft.com/office/drawing/2014/main" id="{6162EBE0-6348-3640-89A6-FD58D44C0C44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6315AB33-BCF1-B440-8AC4-F1EA222124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8FD4172D-266A-EA4E-AF01-C79A7750AAE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42696"/>
                  <a:ext cx="280804" cy="27221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DAD4CC50-1DD7-A44E-B6D4-D3C57CCBC2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2C153991-1115-BF42-883D-7BC24F5C0F26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FA256989-176B-8B48-BAD4-E22672288247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077E7EC0-460B-DA4A-9655-F14ED9F39263}"/>
                    </a:ext>
                  </a:extLst>
                </p:cNvPr>
                <p:cNvSpPr/>
                <p:nvPr/>
              </p:nvSpPr>
              <p:spPr>
                <a:xfrm>
                  <a:off x="2540219" y="97191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F3008AC4-0239-564C-9BFA-4C68EFB2A4E2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855A76CB-EDB4-F744-8211-8EE32E38D8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A5B030C0-7FF6-5343-AF84-607DE78349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5B62AF84-2112-7D4E-8E0B-4CDD2BF56F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E9011E0A-7DFC-8540-A0C3-F64B1B27487F}"/>
                  </a:ext>
                </a:extLst>
              </p:cNvPr>
              <p:cNvSpPr/>
              <p:nvPr/>
            </p:nvSpPr>
            <p:spPr>
              <a:xfrm>
                <a:off x="2926348" y="1672848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3743DBB-D01D-B342-A573-849DA74C2F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46659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Left Arrow 27">
              <a:extLst>
                <a:ext uri="{FF2B5EF4-FFF2-40B4-BE49-F238E27FC236}">
                  <a16:creationId xmlns:a16="http://schemas.microsoft.com/office/drawing/2014/main" id="{6781BADF-7954-C14A-ADF0-70A56F6A37C4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D72F4EA-FA51-9F4C-94F1-B4AFF8E8E47E}"/>
              </a:ext>
            </a:extLst>
          </p:cNvPr>
          <p:cNvSpPr txBox="1"/>
          <p:nvPr/>
        </p:nvSpPr>
        <p:spPr>
          <a:xfrm>
            <a:off x="6896807" y="1925827"/>
            <a:ext cx="3623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49N: chr4:3,213,622-3,213,736 (+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A3F9EEC-3C25-7245-9B39-011C26866A95}"/>
              </a:ext>
            </a:extLst>
          </p:cNvPr>
          <p:cNvSpPr txBox="1"/>
          <p:nvPr/>
        </p:nvSpPr>
        <p:spPr>
          <a:xfrm>
            <a:off x="485069" y="5747080"/>
            <a:ext cx="29161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ed from Jessica Plots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3935E4-5213-6E41-B35A-2A7F6EA37D5B}"/>
              </a:ext>
            </a:extLst>
          </p:cNvPr>
          <p:cNvSpPr/>
          <p:nvPr/>
        </p:nvSpPr>
        <p:spPr>
          <a:xfrm>
            <a:off x="3620783" y="3094380"/>
            <a:ext cx="605560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r>
              <a:rPr lang="en-US" sz="1067" dirty="0">
                <a:solidFill>
                  <a:srgbClr val="FFFFFF"/>
                </a:solidFill>
                <a:latin typeface="Arial" panose="020B0604020202020204"/>
              </a:rPr>
              <a:t>Intr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A3FDF4E-F7D5-2D4C-AB9C-5C2EDA577EFD}"/>
              </a:ext>
            </a:extLst>
          </p:cNvPr>
          <p:cNvSpPr txBox="1"/>
          <p:nvPr/>
        </p:nvSpPr>
        <p:spPr>
          <a:xfrm>
            <a:off x="596494" y="898669"/>
            <a:ext cx="385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assical toxic exon splicing in type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28F878E-8E44-C145-A4D3-5C3E69D390C2}"/>
              </a:ext>
            </a:extLst>
          </p:cNvPr>
          <p:cNvSpPr txBox="1"/>
          <p:nvPr/>
        </p:nvSpPr>
        <p:spPr>
          <a:xfrm>
            <a:off x="596494" y="2457477"/>
            <a:ext cx="4095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Classical but high frequent ones 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B8042D-1644-E544-927F-3B5274296B30}"/>
              </a:ext>
            </a:extLst>
          </p:cNvPr>
          <p:cNvSpPr/>
          <p:nvPr/>
        </p:nvSpPr>
        <p:spPr>
          <a:xfrm>
            <a:off x="6995538" y="5562414"/>
            <a:ext cx="43765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Nonsense-mediated </a:t>
            </a:r>
            <a:r>
              <a:rPr lang="en-US" b="1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mRNA decay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 (NMD)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906E6F7-467D-A347-BC64-F6133ABABF30}"/>
              </a:ext>
            </a:extLst>
          </p:cNvPr>
          <p:cNvSpPr/>
          <p:nvPr/>
        </p:nvSpPr>
        <p:spPr>
          <a:xfrm>
            <a:off x="2615178" y="4658171"/>
            <a:ext cx="239213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1067" dirty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46FF3E0-D0EF-674E-A830-BB9E2AB9A9B5}"/>
              </a:ext>
            </a:extLst>
          </p:cNvPr>
          <p:cNvGrpSpPr/>
          <p:nvPr/>
        </p:nvGrpSpPr>
        <p:grpSpPr>
          <a:xfrm>
            <a:off x="743483" y="4356068"/>
            <a:ext cx="5728309" cy="1039645"/>
            <a:chOff x="543575" y="1930801"/>
            <a:chExt cx="5728309" cy="1039645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D3452F2-3985-2844-8C28-69A427D9A50A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39645"/>
              <a:chOff x="410011" y="829146"/>
              <a:chExt cx="5728309" cy="1039645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A96C1276-293F-1E4D-BECB-0907D8B4276F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5570"/>
                <a:chOff x="418567" y="669336"/>
                <a:chExt cx="5728309" cy="945570"/>
              </a:xfrm>
            </p:grpSpPr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58E9123D-0254-A24F-A496-4D5F1A7B3D6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932121E0-45E0-E74C-BA35-4EEBF1941CE4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FC4DAA79-F17C-074F-A788-EDFE7A8C77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9C01B31D-677E-0649-B1ED-6DF1687B42B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Left Arrow 66">
                  <a:extLst>
                    <a:ext uri="{FF2B5EF4-FFF2-40B4-BE49-F238E27FC236}">
                      <a16:creationId xmlns:a16="http://schemas.microsoft.com/office/drawing/2014/main" id="{F5AAC8DE-576B-0547-BEF5-C948C977842F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8" name="Straight Connector 67">
                  <a:extLst>
                    <a:ext uri="{FF2B5EF4-FFF2-40B4-BE49-F238E27FC236}">
                      <a16:creationId xmlns:a16="http://schemas.microsoft.com/office/drawing/2014/main" id="{8519DE1A-2305-D04B-8B96-9D7EF6AF9D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72CD813C-0BE5-B844-8D05-C916E95308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00119"/>
                  <a:ext cx="38456" cy="31478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D0F9AC9E-9593-AF4D-A603-3AC71F260E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55F5EF83-620C-0C4D-B160-3FA53CD6B712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D8496FF-02FA-2F45-8090-F210A2F22F8C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B89C2DD3-FB1C-9546-B679-0D4217A91890}"/>
                    </a:ext>
                  </a:extLst>
                </p:cNvPr>
                <p:cNvSpPr/>
                <p:nvPr/>
              </p:nvSpPr>
              <p:spPr>
                <a:xfrm>
                  <a:off x="2540219" y="97191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74EE79E8-004E-4549-BBDF-637E3D21E4E9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75" name="Straight Connector 74">
                  <a:extLst>
                    <a:ext uri="{FF2B5EF4-FFF2-40B4-BE49-F238E27FC236}">
                      <a16:creationId xmlns:a16="http://schemas.microsoft.com/office/drawing/2014/main" id="{EFD5D9EC-A3E1-234C-B121-1800098ECE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6469E440-5030-F043-94A1-3C122241410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1B57A512-F835-5E43-B510-6E8AD6EB5C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1" name="Hexagon 60">
                <a:extLst>
                  <a:ext uri="{FF2B5EF4-FFF2-40B4-BE49-F238E27FC236}">
                    <a16:creationId xmlns:a16="http://schemas.microsoft.com/office/drawing/2014/main" id="{2D188908-B572-2542-9C74-9DA5E6F073FE}"/>
                  </a:ext>
                </a:extLst>
              </p:cNvPr>
              <p:cNvSpPr/>
              <p:nvPr/>
            </p:nvSpPr>
            <p:spPr>
              <a:xfrm>
                <a:off x="2926348" y="1672848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EB88A33D-D26D-FD41-AA96-0DF85ED5A4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46659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Left Arrow 58">
              <a:extLst>
                <a:ext uri="{FF2B5EF4-FFF2-40B4-BE49-F238E27FC236}">
                  <a16:creationId xmlns:a16="http://schemas.microsoft.com/office/drawing/2014/main" id="{3AD10119-D982-2248-B34D-5E57EDC65649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8" name="Rectangle 77">
            <a:extLst>
              <a:ext uri="{FF2B5EF4-FFF2-40B4-BE49-F238E27FC236}">
                <a16:creationId xmlns:a16="http://schemas.microsoft.com/office/drawing/2014/main" id="{6D9B16EC-C2B8-E94E-961A-221BDD695ED5}"/>
              </a:ext>
            </a:extLst>
          </p:cNvPr>
          <p:cNvSpPr/>
          <p:nvPr/>
        </p:nvSpPr>
        <p:spPr>
          <a:xfrm>
            <a:off x="3603791" y="4653815"/>
            <a:ext cx="605560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r>
              <a:rPr lang="en-US" sz="1067" dirty="0">
                <a:solidFill>
                  <a:srgbClr val="FFFFFF"/>
                </a:solidFill>
                <a:latin typeface="Arial" panose="020B0604020202020204"/>
              </a:rPr>
              <a:t>Intron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C843D35-282B-0944-AA26-F6B0764C802B}"/>
              </a:ext>
            </a:extLst>
          </p:cNvPr>
          <p:cNvSpPr txBox="1"/>
          <p:nvPr/>
        </p:nvSpPr>
        <p:spPr>
          <a:xfrm>
            <a:off x="579502" y="4016912"/>
            <a:ext cx="4198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Classical and less frequent ones  </a:t>
            </a:r>
          </a:p>
        </p:txBody>
      </p:sp>
    </p:spTree>
    <p:extLst>
      <p:ext uri="{BB962C8B-B14F-4D97-AF65-F5344CB8AC3E}">
        <p14:creationId xmlns:p14="http://schemas.microsoft.com/office/powerpoint/2010/main" val="364714092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s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8544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1805</TotalTime>
  <Words>1471</Words>
  <Application>Microsoft Macintosh PowerPoint</Application>
  <PresentationFormat>Widescreen</PresentationFormat>
  <Paragraphs>353</Paragraphs>
  <Slides>3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1" baseType="lpstr">
      <vt:lpstr>System Font Regular</vt:lpstr>
      <vt:lpstr>Arial</vt:lpstr>
      <vt:lpstr>Arial Narrow</vt:lpstr>
      <vt:lpstr>Calibri</vt:lpstr>
      <vt:lpstr>Century Gothic</vt:lpstr>
      <vt:lpstr>Courier</vt:lpstr>
      <vt:lpstr>Courier New</vt:lpstr>
      <vt:lpstr>Roboto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PowerPoint Presentation</vt:lpstr>
      <vt:lpstr>Tools  </vt:lpstr>
      <vt:lpstr>TST11872 Study design</vt:lpstr>
      <vt:lpstr>The target region</vt:lpstr>
      <vt:lpstr>sashimi-plots: 1st 6152 and 9634</vt:lpstr>
      <vt:lpstr>sashimi-plots: 2nd 6152</vt:lpstr>
      <vt:lpstr>2136770 (1000nM) in iPSC(Left) and NGN2(Right) </vt:lpstr>
      <vt:lpstr>It looks more than toxic exon spicing in </vt:lpstr>
      <vt:lpstr>Tools </vt:lpstr>
      <vt:lpstr>PowerPoint Presentation</vt:lpstr>
      <vt:lpstr>Sample Output</vt:lpstr>
      <vt:lpstr>Sample Output:event_info</vt:lpstr>
      <vt:lpstr>The central idea of MAJIQ: local splicing variations</vt:lpstr>
      <vt:lpstr>The central idea of MAJIQ: local splicing variations</vt:lpstr>
      <vt:lpstr>The central idea of MAJIQ: local splicing variations</vt:lpstr>
      <vt:lpstr>The central idea of MAJIQ: local splicing variations</vt:lpstr>
      <vt:lpstr>The central idea of MAJIQ: local splicing variations</vt:lpstr>
      <vt:lpstr>The central idea of MAJIQ: local splicing variations</vt:lpstr>
      <vt:lpstr>PowerPoint Presentation</vt:lpstr>
      <vt:lpstr>PowerPoint Presentation</vt:lpstr>
      <vt:lpstr>Off-Targets </vt:lpstr>
      <vt:lpstr>The selected region</vt:lpstr>
      <vt:lpstr>The selected region</vt:lpstr>
      <vt:lpstr>PowerPoint Presentation</vt:lpstr>
      <vt:lpstr>Venn Diagram</vt:lpstr>
      <vt:lpstr>2135644 in iPSC and NGN2</vt:lpstr>
      <vt:lpstr>2136770 (1000nM) in iPSC(Left) and NGN2(Right) </vt:lpstr>
      <vt:lpstr>DSG and dPSI in eoi</vt:lpstr>
      <vt:lpstr>dPSI_of_eoi</vt:lpstr>
      <vt:lpstr>1755497 in NGN2</vt:lpstr>
      <vt:lpstr>The motif analysis of selected regions</vt:lpstr>
      <vt:lpstr>The selected region</vt:lpstr>
      <vt:lpstr>The selected reg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17</cp:revision>
  <dcterms:created xsi:type="dcterms:W3CDTF">2021-06-27T14:47:41Z</dcterms:created>
  <dcterms:modified xsi:type="dcterms:W3CDTF">2023-08-23T23:13:39Z</dcterms:modified>
</cp:coreProperties>
</file>